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47" r:id="rId5"/>
    <p:sldMasterId id="2147483758" r:id="rId6"/>
  </p:sldMasterIdLst>
  <p:notesMasterIdLst>
    <p:notesMasterId r:id="rId43"/>
  </p:notesMasterIdLst>
  <p:sldIdLst>
    <p:sldId id="1624" r:id="rId7"/>
    <p:sldId id="1783" r:id="rId8"/>
    <p:sldId id="1852" r:id="rId9"/>
    <p:sldId id="1856" r:id="rId10"/>
    <p:sldId id="1857" r:id="rId11"/>
    <p:sldId id="1858" r:id="rId12"/>
    <p:sldId id="1894" r:id="rId13"/>
    <p:sldId id="1670" r:id="rId14"/>
    <p:sldId id="1886" r:id="rId15"/>
    <p:sldId id="1887" r:id="rId16"/>
    <p:sldId id="1803" r:id="rId17"/>
    <p:sldId id="1808" r:id="rId18"/>
    <p:sldId id="1810" r:id="rId19"/>
    <p:sldId id="1866" r:id="rId20"/>
    <p:sldId id="1890" r:id="rId21"/>
    <p:sldId id="1891" r:id="rId22"/>
    <p:sldId id="1892" r:id="rId23"/>
    <p:sldId id="1893" r:id="rId24"/>
    <p:sldId id="1804" r:id="rId25"/>
    <p:sldId id="1832" r:id="rId26"/>
    <p:sldId id="1869" r:id="rId27"/>
    <p:sldId id="1834" r:id="rId28"/>
    <p:sldId id="1870" r:id="rId29"/>
    <p:sldId id="1836" r:id="rId30"/>
    <p:sldId id="1415" r:id="rId31"/>
    <p:sldId id="1416" r:id="rId32"/>
    <p:sldId id="1417" r:id="rId33"/>
    <p:sldId id="1873" r:id="rId34"/>
    <p:sldId id="1874" r:id="rId35"/>
    <p:sldId id="1875" r:id="rId36"/>
    <p:sldId id="1702" r:id="rId37"/>
    <p:sldId id="1703" r:id="rId38"/>
    <p:sldId id="1895" r:id="rId39"/>
    <p:sldId id="1896" r:id="rId40"/>
    <p:sldId id="1897" r:id="rId41"/>
    <p:sldId id="1898" r:id="rId42"/>
  </p:sldIdLst>
  <p:sldSz cx="12192000" cy="6858000"/>
  <p:notesSz cx="6858000" cy="9144000"/>
  <p:custDataLst>
    <p:tags r:id="rId4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10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186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VDC03\Share\000%20Sty&#269;n&#253;%20t&#253;m%20od%201.7.2020\25%20DIP%20-%20Dispe&#269;ink%20Intenzivn&#237;%20P&#233;&#269;e\Briefingy\Obsazenost%20lu&#778;z&#780;ek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14:$B$280</c:f>
              <c:numCache>
                <c:formatCode>0</c:formatCode>
                <c:ptCount val="67"/>
                <c:pt idx="0">
                  <c:v>6245</c:v>
                </c:pt>
                <c:pt idx="1">
                  <c:v>3837</c:v>
                </c:pt>
                <c:pt idx="2">
                  <c:v>2160</c:v>
                </c:pt>
                <c:pt idx="3">
                  <c:v>1925</c:v>
                </c:pt>
                <c:pt idx="4">
                  <c:v>1419</c:v>
                </c:pt>
                <c:pt idx="5">
                  <c:v>5582</c:v>
                </c:pt>
                <c:pt idx="6">
                  <c:v>7052</c:v>
                </c:pt>
                <c:pt idx="7">
                  <c:v>5282</c:v>
                </c:pt>
                <c:pt idx="8">
                  <c:v>4818</c:v>
                </c:pt>
                <c:pt idx="9">
                  <c:v>2204</c:v>
                </c:pt>
                <c:pt idx="10">
                  <c:v>985</c:v>
                </c:pt>
                <c:pt idx="11">
                  <c:v>3868</c:v>
                </c:pt>
                <c:pt idx="12">
                  <c:v>5056</c:v>
                </c:pt>
                <c:pt idx="13">
                  <c:v>3715</c:v>
                </c:pt>
                <c:pt idx="14">
                  <c:v>3263</c:v>
                </c:pt>
                <c:pt idx="15">
                  <c:v>3215</c:v>
                </c:pt>
                <c:pt idx="16">
                  <c:v>1541</c:v>
                </c:pt>
                <c:pt idx="17">
                  <c:v>833</c:v>
                </c:pt>
                <c:pt idx="18">
                  <c:v>3341</c:v>
                </c:pt>
                <c:pt idx="19">
                  <c:v>3815</c:v>
                </c:pt>
                <c:pt idx="20">
                  <c:v>2951</c:v>
                </c:pt>
                <c:pt idx="21">
                  <c:v>2628</c:v>
                </c:pt>
                <c:pt idx="22">
                  <c:v>2601</c:v>
                </c:pt>
                <c:pt idx="23">
                  <c:v>1307</c:v>
                </c:pt>
                <c:pt idx="24">
                  <c:v>825</c:v>
                </c:pt>
                <c:pt idx="25">
                  <c:v>2579</c:v>
                </c:pt>
                <c:pt idx="26">
                  <c:v>3238</c:v>
                </c:pt>
                <c:pt idx="27">
                  <c:v>2487</c:v>
                </c:pt>
                <c:pt idx="28">
                  <c:v>2228</c:v>
                </c:pt>
                <c:pt idx="29">
                  <c:v>2167</c:v>
                </c:pt>
                <c:pt idx="30">
                  <c:v>1171</c:v>
                </c:pt>
                <c:pt idx="31">
                  <c:v>508</c:v>
                </c:pt>
                <c:pt idx="32">
                  <c:v>2217</c:v>
                </c:pt>
                <c:pt idx="33">
                  <c:v>2416</c:v>
                </c:pt>
                <c:pt idx="34">
                  <c:v>1872</c:v>
                </c:pt>
                <c:pt idx="35">
                  <c:v>1572</c:v>
                </c:pt>
                <c:pt idx="36">
                  <c:v>1638</c:v>
                </c:pt>
                <c:pt idx="37">
                  <c:v>724</c:v>
                </c:pt>
                <c:pt idx="38">
                  <c:v>384</c:v>
                </c:pt>
                <c:pt idx="39">
                  <c:v>1545</c:v>
                </c:pt>
                <c:pt idx="40">
                  <c:v>1691</c:v>
                </c:pt>
                <c:pt idx="41">
                  <c:v>1266</c:v>
                </c:pt>
                <c:pt idx="42">
                  <c:v>1224</c:v>
                </c:pt>
                <c:pt idx="43">
                  <c:v>1054</c:v>
                </c:pt>
                <c:pt idx="44">
                  <c:v>598</c:v>
                </c:pt>
                <c:pt idx="45">
                  <c:v>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C$214:$C$280</c:f>
              <c:numCache>
                <c:formatCode>General</c:formatCode>
                <c:ptCount val="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D$214:$D$280</c:f>
              <c:numCache>
                <c:formatCode>General</c:formatCode>
                <c:ptCount val="67"/>
                <c:pt idx="25">
                  <c:v>2886</c:v>
                </c:pt>
                <c:pt idx="26">
                  <c:v>2689</c:v>
                </c:pt>
                <c:pt idx="27">
                  <c:v>2543</c:v>
                </c:pt>
                <c:pt idx="28" formatCode="#,##0">
                  <c:v>2425</c:v>
                </c:pt>
                <c:pt idx="29" formatCode="#,##0">
                  <c:v>2326</c:v>
                </c:pt>
                <c:pt idx="30" formatCode="#,##0">
                  <c:v>2220</c:v>
                </c:pt>
                <c:pt idx="31" formatCode="#,##0">
                  <c:v>2111</c:v>
                </c:pt>
                <c:pt idx="32" formatCode="#,##0">
                  <c:v>2003</c:v>
                </c:pt>
                <c:pt idx="33" formatCode="#,##0">
                  <c:v>1895</c:v>
                </c:pt>
                <c:pt idx="34" formatCode="#,##0">
                  <c:v>1805</c:v>
                </c:pt>
                <c:pt idx="35" formatCode="#,##0">
                  <c:v>1723</c:v>
                </c:pt>
                <c:pt idx="36" formatCode="#,##0">
                  <c:v>1644</c:v>
                </c:pt>
                <c:pt idx="37" formatCode="#,##0">
                  <c:v>1562</c:v>
                </c:pt>
                <c:pt idx="38" formatCode="#,##0">
                  <c:v>1484</c:v>
                </c:pt>
                <c:pt idx="39" formatCode="#,##0">
                  <c:v>1411</c:v>
                </c:pt>
                <c:pt idx="40" formatCode="#,##0">
                  <c:v>1344</c:v>
                </c:pt>
                <c:pt idx="41" formatCode="#,##0">
                  <c:v>1282</c:v>
                </c:pt>
                <c:pt idx="42" formatCode="#,##0">
                  <c:v>1221</c:v>
                </c:pt>
                <c:pt idx="43" formatCode="#,##0">
                  <c:v>1163</c:v>
                </c:pt>
                <c:pt idx="44" formatCode="#,##0">
                  <c:v>1107</c:v>
                </c:pt>
                <c:pt idx="45" formatCode="#,##0">
                  <c:v>1055</c:v>
                </c:pt>
                <c:pt idx="46" formatCode="#,##0">
                  <c:v>1005</c:v>
                </c:pt>
                <c:pt idx="47" formatCode="#,##0">
                  <c:v>958</c:v>
                </c:pt>
                <c:pt idx="48" formatCode="#,##0">
                  <c:v>914</c:v>
                </c:pt>
                <c:pt idx="49" formatCode="#,##0">
                  <c:v>871</c:v>
                </c:pt>
                <c:pt idx="50" formatCode="#,##0">
                  <c:v>831</c:v>
                </c:pt>
                <c:pt idx="51" formatCode="#,##0">
                  <c:v>793</c:v>
                </c:pt>
                <c:pt idx="52" formatCode="#,##0">
                  <c:v>756</c:v>
                </c:pt>
                <c:pt idx="53" formatCode="#,##0">
                  <c:v>722</c:v>
                </c:pt>
                <c:pt idx="54" formatCode="#,##0">
                  <c:v>690</c:v>
                </c:pt>
                <c:pt idx="55" formatCode="#,##0">
                  <c:v>658</c:v>
                </c:pt>
                <c:pt idx="56" formatCode="#,##0">
                  <c:v>629</c:v>
                </c:pt>
                <c:pt idx="57" formatCode="#,##0">
                  <c:v>601</c:v>
                </c:pt>
                <c:pt idx="58" formatCode="#,##0">
                  <c:v>574</c:v>
                </c:pt>
                <c:pt idx="59" formatCode="#,##0">
                  <c:v>549</c:v>
                </c:pt>
                <c:pt idx="60" formatCode="#,##0">
                  <c:v>525</c:v>
                </c:pt>
                <c:pt idx="61" formatCode="#,##0">
                  <c:v>502</c:v>
                </c:pt>
                <c:pt idx="62" formatCode="#,##0">
                  <c:v>481</c:v>
                </c:pt>
                <c:pt idx="63" formatCode="#,##0">
                  <c:v>460</c:v>
                </c:pt>
                <c:pt idx="64" formatCode="#,##0">
                  <c:v>441</c:v>
                </c:pt>
                <c:pt idx="65" formatCode="#,##0">
                  <c:v>422</c:v>
                </c:pt>
                <c:pt idx="66" formatCode="#,##0">
                  <c:v>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E$214:$E$280</c:f>
              <c:numCache>
                <c:formatCode>General</c:formatCode>
                <c:ptCount val="67"/>
                <c:pt idx="25">
                  <c:v>2886</c:v>
                </c:pt>
                <c:pt idx="26">
                  <c:v>2821</c:v>
                </c:pt>
                <c:pt idx="27">
                  <c:v>2747</c:v>
                </c:pt>
                <c:pt idx="28" formatCode="#,##0">
                  <c:v>2668</c:v>
                </c:pt>
                <c:pt idx="29" formatCode="#,##0">
                  <c:v>2588</c:v>
                </c:pt>
                <c:pt idx="30" formatCode="#,##0">
                  <c:v>2515</c:v>
                </c:pt>
                <c:pt idx="31" formatCode="#,##0">
                  <c:v>2446</c:v>
                </c:pt>
                <c:pt idx="32" formatCode="#,##0">
                  <c:v>2381</c:v>
                </c:pt>
                <c:pt idx="33" formatCode="#,##0">
                  <c:v>2318</c:v>
                </c:pt>
                <c:pt idx="34" formatCode="#,##0">
                  <c:v>2253</c:v>
                </c:pt>
                <c:pt idx="35" formatCode="#,##0">
                  <c:v>2190</c:v>
                </c:pt>
                <c:pt idx="36" formatCode="#,##0">
                  <c:v>2129</c:v>
                </c:pt>
                <c:pt idx="37" formatCode="#,##0">
                  <c:v>2071</c:v>
                </c:pt>
                <c:pt idx="38" formatCode="#,##0">
                  <c:v>2016</c:v>
                </c:pt>
                <c:pt idx="39" formatCode="#,##0">
                  <c:v>1962</c:v>
                </c:pt>
                <c:pt idx="40" formatCode="#,##0">
                  <c:v>1908</c:v>
                </c:pt>
                <c:pt idx="41" formatCode="#,##0">
                  <c:v>1855</c:v>
                </c:pt>
                <c:pt idx="42" formatCode="#,##0">
                  <c:v>1805</c:v>
                </c:pt>
                <c:pt idx="43" formatCode="#,##0">
                  <c:v>1757</c:v>
                </c:pt>
                <c:pt idx="44" formatCode="#,##0">
                  <c:v>1709</c:v>
                </c:pt>
                <c:pt idx="45" formatCode="#,##0">
                  <c:v>1663</c:v>
                </c:pt>
                <c:pt idx="46" formatCode="#,##0">
                  <c:v>1619</c:v>
                </c:pt>
                <c:pt idx="47" formatCode="#,##0">
                  <c:v>1576</c:v>
                </c:pt>
                <c:pt idx="48" formatCode="#,##0">
                  <c:v>1533</c:v>
                </c:pt>
                <c:pt idx="49" formatCode="#,##0">
                  <c:v>1493</c:v>
                </c:pt>
                <c:pt idx="50" formatCode="#,##0">
                  <c:v>1453</c:v>
                </c:pt>
                <c:pt idx="51" formatCode="#,##0">
                  <c:v>1415</c:v>
                </c:pt>
                <c:pt idx="52" formatCode="#,##0">
                  <c:v>1377</c:v>
                </c:pt>
                <c:pt idx="53" formatCode="#,##0">
                  <c:v>1341</c:v>
                </c:pt>
                <c:pt idx="54" formatCode="#,##0">
                  <c:v>1306</c:v>
                </c:pt>
                <c:pt idx="55" formatCode="#,##0">
                  <c:v>1271</c:v>
                </c:pt>
                <c:pt idx="56" formatCode="#,##0">
                  <c:v>1238</c:v>
                </c:pt>
                <c:pt idx="57" formatCode="#,##0">
                  <c:v>1206</c:v>
                </c:pt>
                <c:pt idx="58" formatCode="#,##0">
                  <c:v>1174</c:v>
                </c:pt>
                <c:pt idx="59" formatCode="#,##0">
                  <c:v>1144</c:v>
                </c:pt>
                <c:pt idx="60" formatCode="#,##0">
                  <c:v>1114</c:v>
                </c:pt>
                <c:pt idx="61" formatCode="#,##0">
                  <c:v>1086</c:v>
                </c:pt>
                <c:pt idx="62" formatCode="#,##0">
                  <c:v>1058</c:v>
                </c:pt>
                <c:pt idx="63" formatCode="#,##0">
                  <c:v>1031</c:v>
                </c:pt>
                <c:pt idx="64" formatCode="#,##0">
                  <c:v>1005</c:v>
                </c:pt>
                <c:pt idx="65" formatCode="#,##0">
                  <c:v>979</c:v>
                </c:pt>
                <c:pt idx="66" formatCode="#,##0">
                  <c:v>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F$214:$F$280</c:f>
              <c:numCache>
                <c:formatCode>General</c:formatCode>
                <c:ptCount val="67"/>
                <c:pt idx="25">
                  <c:v>2886</c:v>
                </c:pt>
                <c:pt idx="26">
                  <c:v>2952</c:v>
                </c:pt>
                <c:pt idx="27">
                  <c:v>2951</c:v>
                </c:pt>
                <c:pt idx="28" formatCode="#,##0">
                  <c:v>2911</c:v>
                </c:pt>
                <c:pt idx="29" formatCode="#,##0">
                  <c:v>2850</c:v>
                </c:pt>
                <c:pt idx="30" formatCode="#,##0">
                  <c:v>2816</c:v>
                </c:pt>
                <c:pt idx="31" formatCode="#,##0">
                  <c:v>2797</c:v>
                </c:pt>
                <c:pt idx="32" formatCode="#,##0">
                  <c:v>2788</c:v>
                </c:pt>
                <c:pt idx="33" formatCode="#,##0">
                  <c:v>2783</c:v>
                </c:pt>
                <c:pt idx="34" formatCode="#,##0">
                  <c:v>2753</c:v>
                </c:pt>
                <c:pt idx="35" formatCode="#,##0">
                  <c:v>2718</c:v>
                </c:pt>
                <c:pt idx="36" formatCode="#,##0">
                  <c:v>2690</c:v>
                </c:pt>
                <c:pt idx="37" formatCode="#,##0">
                  <c:v>2675</c:v>
                </c:pt>
                <c:pt idx="38" formatCode="#,##0">
                  <c:v>2660</c:v>
                </c:pt>
                <c:pt idx="39" formatCode="#,##0">
                  <c:v>2641</c:v>
                </c:pt>
                <c:pt idx="40" formatCode="#,##0">
                  <c:v>2619</c:v>
                </c:pt>
                <c:pt idx="41" formatCode="#,##0">
                  <c:v>2593</c:v>
                </c:pt>
                <c:pt idx="42" formatCode="#,##0">
                  <c:v>2570</c:v>
                </c:pt>
                <c:pt idx="43" formatCode="#,##0">
                  <c:v>2552</c:v>
                </c:pt>
                <c:pt idx="44" formatCode="#,##0">
                  <c:v>2535</c:v>
                </c:pt>
                <c:pt idx="45" formatCode="#,##0">
                  <c:v>2516</c:v>
                </c:pt>
                <c:pt idx="46" formatCode="#,##0">
                  <c:v>2494</c:v>
                </c:pt>
                <c:pt idx="47" formatCode="#,##0">
                  <c:v>2473</c:v>
                </c:pt>
                <c:pt idx="48" formatCode="#,##0">
                  <c:v>2454</c:v>
                </c:pt>
                <c:pt idx="49" formatCode="#,##0">
                  <c:v>2435</c:v>
                </c:pt>
                <c:pt idx="50" formatCode="#,##0">
                  <c:v>2417</c:v>
                </c:pt>
                <c:pt idx="51" formatCode="#,##0">
                  <c:v>2398</c:v>
                </c:pt>
                <c:pt idx="52" formatCode="#,##0">
                  <c:v>2379</c:v>
                </c:pt>
                <c:pt idx="53" formatCode="#,##0">
                  <c:v>2360</c:v>
                </c:pt>
                <c:pt idx="54" formatCode="#,##0">
                  <c:v>2341</c:v>
                </c:pt>
                <c:pt idx="55" formatCode="#,##0">
                  <c:v>2324</c:v>
                </c:pt>
                <c:pt idx="56" formatCode="#,##0">
                  <c:v>2306</c:v>
                </c:pt>
                <c:pt idx="57" formatCode="#,##0">
                  <c:v>2288</c:v>
                </c:pt>
                <c:pt idx="58" formatCode="#,##0">
                  <c:v>2271</c:v>
                </c:pt>
                <c:pt idx="59" formatCode="#,##0">
                  <c:v>2252</c:v>
                </c:pt>
                <c:pt idx="60" formatCode="#,##0">
                  <c:v>2235</c:v>
                </c:pt>
                <c:pt idx="61" formatCode="#,##0">
                  <c:v>2218</c:v>
                </c:pt>
                <c:pt idx="62" formatCode="#,##0">
                  <c:v>2201</c:v>
                </c:pt>
                <c:pt idx="63" formatCode="#,##0">
                  <c:v>2184</c:v>
                </c:pt>
                <c:pt idx="64" formatCode="#,##0">
                  <c:v>2167</c:v>
                </c:pt>
                <c:pt idx="65" formatCode="#,##0">
                  <c:v>2151</c:v>
                </c:pt>
                <c:pt idx="66" formatCode="#,##0">
                  <c:v>2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G$214:$G$280</c:f>
              <c:numCache>
                <c:formatCode>General</c:formatCode>
                <c:ptCount val="67"/>
                <c:pt idx="25">
                  <c:v>2886</c:v>
                </c:pt>
                <c:pt idx="26">
                  <c:v>3149</c:v>
                </c:pt>
                <c:pt idx="27">
                  <c:v>3258</c:v>
                </c:pt>
                <c:pt idx="28" formatCode="#,##0">
                  <c:v>3276</c:v>
                </c:pt>
                <c:pt idx="29" formatCode="#,##0">
                  <c:v>3243</c:v>
                </c:pt>
                <c:pt idx="30" formatCode="#,##0">
                  <c:v>3281</c:v>
                </c:pt>
                <c:pt idx="31" formatCode="#,##0">
                  <c:v>3356</c:v>
                </c:pt>
                <c:pt idx="32" formatCode="#,##0">
                  <c:v>3453</c:v>
                </c:pt>
                <c:pt idx="33" formatCode="#,##0">
                  <c:v>3560</c:v>
                </c:pt>
                <c:pt idx="34" formatCode="#,##0">
                  <c:v>3602</c:v>
                </c:pt>
                <c:pt idx="35" formatCode="#,##0">
                  <c:v>3633</c:v>
                </c:pt>
                <c:pt idx="36" formatCode="#,##0">
                  <c:v>3683</c:v>
                </c:pt>
                <c:pt idx="37" formatCode="#,##0">
                  <c:v>3771</c:v>
                </c:pt>
                <c:pt idx="38" formatCode="#,##0">
                  <c:v>3860</c:v>
                </c:pt>
                <c:pt idx="39" formatCode="#,##0">
                  <c:v>3936</c:v>
                </c:pt>
                <c:pt idx="40" formatCode="#,##0">
                  <c:v>4000</c:v>
                </c:pt>
                <c:pt idx="41" formatCode="#,##0">
                  <c:v>4058</c:v>
                </c:pt>
                <c:pt idx="42" formatCode="#,##0">
                  <c:v>4129</c:v>
                </c:pt>
                <c:pt idx="43" formatCode="#,##0">
                  <c:v>4213</c:v>
                </c:pt>
                <c:pt idx="44" formatCode="#,##0">
                  <c:v>4300</c:v>
                </c:pt>
                <c:pt idx="45" formatCode="#,##0">
                  <c:v>4379</c:v>
                </c:pt>
                <c:pt idx="46" formatCode="#,##0">
                  <c:v>4453</c:v>
                </c:pt>
                <c:pt idx="47" formatCode="#,##0">
                  <c:v>4528</c:v>
                </c:pt>
                <c:pt idx="48" formatCode="#,##0">
                  <c:v>4611</c:v>
                </c:pt>
                <c:pt idx="49" formatCode="#,##0">
                  <c:v>4700</c:v>
                </c:pt>
                <c:pt idx="50" formatCode="#,##0">
                  <c:v>4789</c:v>
                </c:pt>
                <c:pt idx="51" formatCode="#,##0">
                  <c:v>4876</c:v>
                </c:pt>
                <c:pt idx="52" formatCode="#,##0">
                  <c:v>4961</c:v>
                </c:pt>
                <c:pt idx="53" formatCode="#,##0">
                  <c:v>5049</c:v>
                </c:pt>
                <c:pt idx="54" formatCode="#,##0">
                  <c:v>5141</c:v>
                </c:pt>
                <c:pt idx="55" formatCode="#,##0">
                  <c:v>5237</c:v>
                </c:pt>
                <c:pt idx="56" formatCode="#,##0">
                  <c:v>5333</c:v>
                </c:pt>
                <c:pt idx="57" formatCode="#,##0">
                  <c:v>5429</c:v>
                </c:pt>
                <c:pt idx="58" formatCode="#,##0">
                  <c:v>5526</c:v>
                </c:pt>
                <c:pt idx="59" formatCode="#,##0">
                  <c:v>5626</c:v>
                </c:pt>
                <c:pt idx="60" formatCode="#,##0">
                  <c:v>5728</c:v>
                </c:pt>
                <c:pt idx="61" formatCode="#,##0">
                  <c:v>5832</c:v>
                </c:pt>
                <c:pt idx="62" formatCode="#,##0">
                  <c:v>5938</c:v>
                </c:pt>
                <c:pt idx="63" formatCode="#,##0">
                  <c:v>6045</c:v>
                </c:pt>
                <c:pt idx="64" formatCode="#,##0">
                  <c:v>6154</c:v>
                </c:pt>
                <c:pt idx="65" formatCode="#,##0">
                  <c:v>6265</c:v>
                </c:pt>
                <c:pt idx="66" formatCode="#,##0">
                  <c:v>6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69</c:v>
                </c:pt>
                <c:pt idx="1">
                  <c:v>1212</c:v>
                </c:pt>
                <c:pt idx="2">
                  <c:v>1240</c:v>
                </c:pt>
                <c:pt idx="3">
                  <c:v>1266</c:v>
                </c:pt>
                <c:pt idx="4">
                  <c:v>1269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3</c:v>
                </c:pt>
                <c:pt idx="14">
                  <c:v>1586</c:v>
                </c:pt>
                <c:pt idx="15">
                  <c:v>1597</c:v>
                </c:pt>
                <c:pt idx="16">
                  <c:v>1624</c:v>
                </c:pt>
                <c:pt idx="17">
                  <c:v>1651</c:v>
                </c:pt>
                <c:pt idx="18">
                  <c:v>1671</c:v>
                </c:pt>
                <c:pt idx="19">
                  <c:v>1673</c:v>
                </c:pt>
                <c:pt idx="20">
                  <c:v>1676</c:v>
                </c:pt>
                <c:pt idx="21">
                  <c:v>1770</c:v>
                </c:pt>
                <c:pt idx="22">
                  <c:v>1798</c:v>
                </c:pt>
                <c:pt idx="23">
                  <c:v>1827</c:v>
                </c:pt>
                <c:pt idx="24">
                  <c:v>1817</c:v>
                </c:pt>
                <c:pt idx="25">
                  <c:v>1829</c:v>
                </c:pt>
                <c:pt idx="26">
                  <c:v>1778</c:v>
                </c:pt>
                <c:pt idx="27">
                  <c:v>1825</c:v>
                </c:pt>
                <c:pt idx="28">
                  <c:v>1882</c:v>
                </c:pt>
                <c:pt idx="29">
                  <c:v>1891</c:v>
                </c:pt>
                <c:pt idx="30">
                  <c:v>1859</c:v>
                </c:pt>
                <c:pt idx="31">
                  <c:v>1858</c:v>
                </c:pt>
                <c:pt idx="32">
                  <c:v>1817</c:v>
                </c:pt>
                <c:pt idx="33">
                  <c:v>1777</c:v>
                </c:pt>
                <c:pt idx="34">
                  <c:v>1801</c:v>
                </c:pt>
                <c:pt idx="35">
                  <c:v>1821</c:v>
                </c:pt>
                <c:pt idx="36">
                  <c:v>1774</c:v>
                </c:pt>
                <c:pt idx="37">
                  <c:v>1742</c:v>
                </c:pt>
                <c:pt idx="38">
                  <c:v>1740</c:v>
                </c:pt>
                <c:pt idx="39">
                  <c:v>1677</c:v>
                </c:pt>
                <c:pt idx="40">
                  <c:v>1642</c:v>
                </c:pt>
                <c:pt idx="41">
                  <c:v>1652</c:v>
                </c:pt>
                <c:pt idx="42">
                  <c:v>1662</c:v>
                </c:pt>
                <c:pt idx="43">
                  <c:v>1613</c:v>
                </c:pt>
                <c:pt idx="44">
                  <c:v>1553</c:v>
                </c:pt>
                <c:pt idx="45">
                  <c:v>1505</c:v>
                </c:pt>
                <c:pt idx="46">
                  <c:v>1424</c:v>
                </c:pt>
                <c:pt idx="47">
                  <c:v>1401</c:v>
                </c:pt>
                <c:pt idx="48">
                  <c:v>1379</c:v>
                </c:pt>
                <c:pt idx="49">
                  <c:v>1345</c:v>
                </c:pt>
                <c:pt idx="50">
                  <c:v>1395</c:v>
                </c:pt>
                <c:pt idx="51">
                  <c:v>1362</c:v>
                </c:pt>
                <c:pt idx="52">
                  <c:v>1315</c:v>
                </c:pt>
                <c:pt idx="53">
                  <c:v>1238</c:v>
                </c:pt>
                <c:pt idx="54">
                  <c:v>1220</c:v>
                </c:pt>
                <c:pt idx="55">
                  <c:v>1202</c:v>
                </c:pt>
                <c:pt idx="56">
                  <c:v>1188</c:v>
                </c:pt>
                <c:pt idx="57">
                  <c:v>1159</c:v>
                </c:pt>
                <c:pt idx="58">
                  <c:v>1115</c:v>
                </c:pt>
                <c:pt idx="59">
                  <c:v>1037</c:v>
                </c:pt>
                <c:pt idx="60">
                  <c:v>1015</c:v>
                </c:pt>
                <c:pt idx="61">
                  <c:v>975</c:v>
                </c:pt>
                <c:pt idx="62">
                  <c:v>977</c:v>
                </c:pt>
                <c:pt idx="63">
                  <c:v>995</c:v>
                </c:pt>
                <c:pt idx="64">
                  <c:v>943</c:v>
                </c:pt>
                <c:pt idx="65">
                  <c:v>908</c:v>
                </c:pt>
                <c:pt idx="66">
                  <c:v>834</c:v>
                </c:pt>
                <c:pt idx="67">
                  <c:v>787</c:v>
                </c:pt>
                <c:pt idx="68">
                  <c:v>751</c:v>
                </c:pt>
                <c:pt idx="69">
                  <c:v>761</c:v>
                </c:pt>
                <c:pt idx="70">
                  <c:v>739</c:v>
                </c:pt>
                <c:pt idx="71">
                  <c:v>714</c:v>
                </c:pt>
                <c:pt idx="72">
                  <c:v>686</c:v>
                </c:pt>
                <c:pt idx="73">
                  <c:v>637</c:v>
                </c:pt>
                <c:pt idx="74">
                  <c:v>578</c:v>
                </c:pt>
                <c:pt idx="75">
                  <c:v>556</c:v>
                </c:pt>
                <c:pt idx="76">
                  <c:v>563</c:v>
                </c:pt>
                <c:pt idx="77">
                  <c:v>569</c:v>
                </c:pt>
                <c:pt idx="78">
                  <c:v>549</c:v>
                </c:pt>
                <c:pt idx="79">
                  <c:v>506</c:v>
                </c:pt>
                <c:pt idx="80">
                  <c:v>466</c:v>
                </c:pt>
                <c:pt idx="81">
                  <c:v>443</c:v>
                </c:pt>
                <c:pt idx="82">
                  <c:v>414</c:v>
                </c:pt>
                <c:pt idx="83">
                  <c:v>422</c:v>
                </c:pt>
                <c:pt idx="84">
                  <c:v>427</c:v>
                </c:pt>
                <c:pt idx="85">
                  <c:v>405</c:v>
                </c:pt>
                <c:pt idx="86">
                  <c:v>379</c:v>
                </c:pt>
                <c:pt idx="87">
                  <c:v>362</c:v>
                </c:pt>
                <c:pt idx="88">
                  <c:v>326</c:v>
                </c:pt>
                <c:pt idx="89">
                  <c:v>304</c:v>
                </c:pt>
                <c:pt idx="90">
                  <c:v>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485.369836848839</c:v>
                </c:pt>
                <c:pt idx="11">
                  <c:v>1528.2577177119847</c:v>
                </c:pt>
                <c:pt idx="12">
                  <c:v>1571.7546794861883</c:v>
                </c:pt>
                <c:pt idx="13">
                  <c:v>1616.1751294048318</c:v>
                </c:pt>
                <c:pt idx="14">
                  <c:v>1660.7583668090567</c:v>
                </c:pt>
                <c:pt idx="15">
                  <c:v>1704.0899138010243</c:v>
                </c:pt>
                <c:pt idx="16">
                  <c:v>1745.8498703350597</c:v>
                </c:pt>
                <c:pt idx="17">
                  <c:v>1784.6425516596371</c:v>
                </c:pt>
                <c:pt idx="18">
                  <c:v>1818.991010095853</c:v>
                </c:pt>
                <c:pt idx="19">
                  <c:v>1848.8596907657045</c:v>
                </c:pt>
                <c:pt idx="20">
                  <c:v>1874.2882277786537</c:v>
                </c:pt>
                <c:pt idx="21">
                  <c:v>1894.5176949736626</c:v>
                </c:pt>
                <c:pt idx="22">
                  <c:v>1909.2357250162929</c:v>
                </c:pt>
                <c:pt idx="23">
                  <c:v>1918.7301211161773</c:v>
                </c:pt>
                <c:pt idx="24">
                  <c:v>1923.4505345991092</c:v>
                </c:pt>
                <c:pt idx="25">
                  <c:v>1923.8354386986039</c:v>
                </c:pt>
                <c:pt idx="26">
                  <c:v>1920.1146264919389</c:v>
                </c:pt>
                <c:pt idx="27">
                  <c:v>1912.4085233441933</c:v>
                </c:pt>
                <c:pt idx="28">
                  <c:v>1900.7101245688546</c:v>
                </c:pt>
                <c:pt idx="29">
                  <c:v>1885.3612522560809</c:v>
                </c:pt>
                <c:pt idx="30">
                  <c:v>1866.7959256137001</c:v>
                </c:pt>
                <c:pt idx="31">
                  <c:v>1845.3620003118795</c:v>
                </c:pt>
                <c:pt idx="32">
                  <c:v>1821.3072864363612</c:v>
                </c:pt>
                <c:pt idx="33">
                  <c:v>1794.9373711230892</c:v>
                </c:pt>
                <c:pt idx="34">
                  <c:v>1766.6011558247731</c:v>
                </c:pt>
                <c:pt idx="35">
                  <c:v>1736.4962625590679</c:v>
                </c:pt>
                <c:pt idx="36">
                  <c:v>1704.8907648207064</c:v>
                </c:pt>
                <c:pt idx="37">
                  <c:v>1672.0041499396448</c:v>
                </c:pt>
                <c:pt idx="38">
                  <c:v>1638.0020036804117</c:v>
                </c:pt>
                <c:pt idx="39">
                  <c:v>1603.1032929063774</c:v>
                </c:pt>
                <c:pt idx="40">
                  <c:v>1567.5164558191509</c:v>
                </c:pt>
                <c:pt idx="41">
                  <c:v>1531.3822037359269</c:v>
                </c:pt>
                <c:pt idx="42">
                  <c:v>1494.831472465766</c:v>
                </c:pt>
                <c:pt idx="43">
                  <c:v>1458.01775883544</c:v>
                </c:pt>
                <c:pt idx="44">
                  <c:v>1421.0505812333422</c:v>
                </c:pt>
                <c:pt idx="45">
                  <c:v>1384.0298537825759</c:v>
                </c:pt>
                <c:pt idx="46">
                  <c:v>1347.0684189571548</c:v>
                </c:pt>
                <c:pt idx="47">
                  <c:v>1310.2354488493429</c:v>
                </c:pt>
                <c:pt idx="48">
                  <c:v>1273.9363743396552</c:v>
                </c:pt>
                <c:pt idx="49">
                  <c:v>1238.228515265434</c:v>
                </c:pt>
                <c:pt idx="50">
                  <c:v>1203.1360182843414</c:v>
                </c:pt>
                <c:pt idx="51">
                  <c:v>1168.6864160511914</c:v>
                </c:pt>
                <c:pt idx="52">
                  <c:v>1134.8974087455197</c:v>
                </c:pt>
                <c:pt idx="53">
                  <c:v>1101.7775278903666</c:v>
                </c:pt>
                <c:pt idx="54">
                  <c:v>1069.3450780147566</c:v>
                </c:pt>
                <c:pt idx="55">
                  <c:v>1037.6177017197072</c:v>
                </c:pt>
                <c:pt idx="56">
                  <c:v>1006.6088587337268</c:v>
                </c:pt>
                <c:pt idx="57">
                  <c:v>976.32467527408903</c:v>
                </c:pt>
                <c:pt idx="58">
                  <c:v>946.76985741225053</c:v>
                </c:pt>
                <c:pt idx="59">
                  <c:v>917.95051042984016</c:v>
                </c:pt>
                <c:pt idx="60">
                  <c:v>889.86588246456313</c:v>
                </c:pt>
                <c:pt idx="61">
                  <c:v>862.50767446145153</c:v>
                </c:pt>
                <c:pt idx="62">
                  <c:v>835.84193592179497</c:v>
                </c:pt>
                <c:pt idx="63">
                  <c:v>809.83784041511808</c:v>
                </c:pt>
                <c:pt idx="64">
                  <c:v>784.51653116604859</c:v>
                </c:pt>
                <c:pt idx="65">
                  <c:v>759.88409997846429</c:v>
                </c:pt>
                <c:pt idx="66">
                  <c:v>735.9364708286198</c:v>
                </c:pt>
                <c:pt idx="67">
                  <c:v>712.67298520128179</c:v>
                </c:pt>
                <c:pt idx="68">
                  <c:v>690.0921845958286</c:v>
                </c:pt>
                <c:pt idx="69">
                  <c:v>668.18403695456004</c:v>
                </c:pt>
                <c:pt idx="70">
                  <c:v>646.94205452936899</c:v>
                </c:pt>
                <c:pt idx="71">
                  <c:v>626.50360954688006</c:v>
                </c:pt>
                <c:pt idx="72">
                  <c:v>606.963843417416</c:v>
                </c:pt>
                <c:pt idx="73">
                  <c:v>588.37251375162714</c:v>
                </c:pt>
                <c:pt idx="74">
                  <c:v>570.75275840563597</c:v>
                </c:pt>
                <c:pt idx="75">
                  <c:v>554.11204090762146</c:v>
                </c:pt>
                <c:pt idx="76">
                  <c:v>538.44938360390165</c:v>
                </c:pt>
                <c:pt idx="77">
                  <c:v>523.75963875613468</c:v>
                </c:pt>
                <c:pt idx="78">
                  <c:v>510.0376768325566</c:v>
                </c:pt>
                <c:pt idx="79">
                  <c:v>497.27469478205722</c:v>
                </c:pt>
                <c:pt idx="80">
                  <c:v>485.45170932242701</c:v>
                </c:pt>
                <c:pt idx="81">
                  <c:v>474.53729770714892</c:v>
                </c:pt>
                <c:pt idx="82">
                  <c:v>464.4895905853104</c:v>
                </c:pt>
                <c:pt idx="83">
                  <c:v>455.26026642934551</c:v>
                </c:pt>
                <c:pt idx="84">
                  <c:v>446.79299523207828</c:v>
                </c:pt>
                <c:pt idx="85">
                  <c:v>439.02652931412734</c:v>
                </c:pt>
                <c:pt idx="86">
                  <c:v>431.89723333392624</c:v>
                </c:pt>
                <c:pt idx="87">
                  <c:v>425.34147494756002</c:v>
                </c:pt>
                <c:pt idx="88">
                  <c:v>419.29736584372034</c:v>
                </c:pt>
                <c:pt idx="89">
                  <c:v>413.705927267638</c:v>
                </c:pt>
                <c:pt idx="90">
                  <c:v>408.51122498378959</c:v>
                </c:pt>
                <c:pt idx="91">
                  <c:v>403.66044040023803</c:v>
                </c:pt>
                <c:pt idx="92">
                  <c:v>399.10374456961085</c:v>
                </c:pt>
                <c:pt idx="93">
                  <c:v>394.79574411602789</c:v>
                </c:pt>
                <c:pt idx="94">
                  <c:v>390.69611838461094</c:v>
                </c:pt>
                <c:pt idx="95">
                  <c:v>386.76960820186082</c:v>
                </c:pt>
                <c:pt idx="96">
                  <c:v>382.98560049020358</c:v>
                </c:pt>
                <c:pt idx="97">
                  <c:v>379.31740032215316</c:v>
                </c:pt>
                <c:pt idx="98">
                  <c:v>375.74490679304517</c:v>
                </c:pt>
                <c:pt idx="99">
                  <c:v>372.25311947728653</c:v>
                </c:pt>
                <c:pt idx="100">
                  <c:v>368.83069617059397</c:v>
                </c:pt>
                <c:pt idx="101">
                  <c:v>365.46897282127799</c:v>
                </c:pt>
                <c:pt idx="102">
                  <c:v>362.16117700837134</c:v>
                </c:pt>
                <c:pt idx="103">
                  <c:v>358.90206184402848</c:v>
                </c:pt>
                <c:pt idx="104">
                  <c:v>355.68752038353836</c:v>
                </c:pt>
                <c:pt idx="105">
                  <c:v>352.51422165559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478.0752157777988</c:v>
                </c:pt>
                <c:pt idx="11">
                  <c:v>1512.11327232242</c:v>
                </c:pt>
                <c:pt idx="12">
                  <c:v>1546.3519777846993</c:v>
                </c:pt>
                <c:pt idx="13">
                  <c:v>1581.2722887581087</c:v>
                </c:pt>
                <c:pt idx="14">
                  <c:v>1616.2061337198156</c:v>
                </c:pt>
                <c:pt idx="15">
                  <c:v>1649.7671654525291</c:v>
                </c:pt>
                <c:pt idx="16">
                  <c:v>1681.684707040753</c:v>
                </c:pt>
                <c:pt idx="17">
                  <c:v>1710.6919066919731</c:v>
                </c:pt>
                <c:pt idx="18">
                  <c:v>1735.5052644467605</c:v>
                </c:pt>
                <c:pt idx="19">
                  <c:v>1756.1769704648432</c:v>
                </c:pt>
                <c:pt idx="20">
                  <c:v>1772.9074051883099</c:v>
                </c:pt>
                <c:pt idx="21">
                  <c:v>1785.1338259964887</c:v>
                </c:pt>
                <c:pt idx="22">
                  <c:v>1792.5674019680182</c:v>
                </c:pt>
                <c:pt idx="23">
                  <c:v>1795.4271464595513</c:v>
                </c:pt>
                <c:pt idx="24">
                  <c:v>1794.1019911621679</c:v>
                </c:pt>
                <c:pt idx="25">
                  <c:v>1788.9896742161193</c:v>
                </c:pt>
                <c:pt idx="26">
                  <c:v>1780.2436913234878</c:v>
                </c:pt>
                <c:pt idx="27">
                  <c:v>1767.9091969546782</c:v>
                </c:pt>
                <c:pt idx="28">
                  <c:v>1751.9273763936494</c:v>
                </c:pt>
                <c:pt idx="29">
                  <c:v>1732.5919987753439</c:v>
                </c:pt>
                <c:pt idx="30">
                  <c:v>1710.3047044415353</c:v>
                </c:pt>
                <c:pt idx="31">
                  <c:v>1685.3756493658684</c:v>
                </c:pt>
                <c:pt idx="32">
                  <c:v>1657.9900689625747</c:v>
                </c:pt>
                <c:pt idx="33">
                  <c:v>1628.3653786988848</c:v>
                </c:pt>
                <c:pt idx="34">
                  <c:v>1596.7948534172483</c:v>
                </c:pt>
                <c:pt idx="35">
                  <c:v>1563.4673563004385</c:v>
                </c:pt>
                <c:pt idx="36">
                  <c:v>1528.6568287817465</c:v>
                </c:pt>
                <c:pt idx="37">
                  <c:v>1492.5761447010832</c:v>
                </c:pt>
                <c:pt idx="38">
                  <c:v>1455.3932955465607</c:v>
                </c:pt>
                <c:pt idx="39">
                  <c:v>1417.3299050521782</c:v>
                </c:pt>
                <c:pt idx="40">
                  <c:v>1378.6046266576691</c:v>
                </c:pt>
                <c:pt idx="41">
                  <c:v>1339.3868690252016</c:v>
                </c:pt>
                <c:pt idx="42">
                  <c:v>1299.8376260196276</c:v>
                </c:pt>
                <c:pt idx="43">
                  <c:v>1260.1451638731148</c:v>
                </c:pt>
                <c:pt idx="44">
                  <c:v>1220.4524484506944</c:v>
                </c:pt>
                <c:pt idx="45">
                  <c:v>1180.8919829242395</c:v>
                </c:pt>
                <c:pt idx="46">
                  <c:v>1141.6066439695835</c:v>
                </c:pt>
                <c:pt idx="47">
                  <c:v>1102.6962914501298</c:v>
                </c:pt>
                <c:pt idx="48">
                  <c:v>1064.540230042307</c:v>
                </c:pt>
                <c:pt idx="49">
                  <c:v>1027.2197984230977</c:v>
                </c:pt>
                <c:pt idx="50">
                  <c:v>990.78312869735782</c:v>
                </c:pt>
                <c:pt idx="51">
                  <c:v>955.27425443497782</c:v>
                </c:pt>
                <c:pt idx="52">
                  <c:v>920.72610336984371</c:v>
                </c:pt>
                <c:pt idx="53">
                  <c:v>887.16198831195379</c:v>
                </c:pt>
                <c:pt idx="54">
                  <c:v>854.59128743821248</c:v>
                </c:pt>
                <c:pt idx="55">
                  <c:v>823.00769438646466</c:v>
                </c:pt>
                <c:pt idx="56">
                  <c:v>792.39282354391003</c:v>
                </c:pt>
                <c:pt idx="57">
                  <c:v>762.71690991701598</c:v>
                </c:pt>
                <c:pt idx="58">
                  <c:v>733.94816741030718</c:v>
                </c:pt>
                <c:pt idx="59">
                  <c:v>706.05762359952769</c:v>
                </c:pt>
                <c:pt idx="60">
                  <c:v>679.02342994180424</c:v>
                </c:pt>
                <c:pt idx="61">
                  <c:v>652.82966602561021</c:v>
                </c:pt>
                <c:pt idx="62">
                  <c:v>627.44321091263589</c:v>
                </c:pt>
                <c:pt idx="63">
                  <c:v>602.83604269395323</c:v>
                </c:pt>
                <c:pt idx="64">
                  <c:v>579.01766667159382</c:v>
                </c:pt>
                <c:pt idx="65">
                  <c:v>555.97847241499073</c:v>
                </c:pt>
                <c:pt idx="66">
                  <c:v>533.70269111167704</c:v>
                </c:pt>
                <c:pt idx="67">
                  <c:v>512.18374208456214</c:v>
                </c:pt>
                <c:pt idx="68">
                  <c:v>491.4209158704648</c:v>
                </c:pt>
                <c:pt idx="69">
                  <c:v>471.40819607860317</c:v>
                </c:pt>
                <c:pt idx="70">
                  <c:v>452.14160088780795</c:v>
                </c:pt>
                <c:pt idx="71">
                  <c:v>433.70473884528496</c:v>
                </c:pt>
                <c:pt idx="72">
                  <c:v>416.14678664354233</c:v>
                </c:pt>
                <c:pt idx="73">
                  <c:v>399.48672249043443</c:v>
                </c:pt>
                <c:pt idx="74">
                  <c:v>383.72648541342494</c:v>
                </c:pt>
                <c:pt idx="75">
                  <c:v>368.85811465518856</c:v>
                </c:pt>
                <c:pt idx="76">
                  <c:v>354.86814706363771</c:v>
                </c:pt>
                <c:pt idx="77">
                  <c:v>341.73922713609971</c:v>
                </c:pt>
                <c:pt idx="78">
                  <c:v>329.44976215417046</c:v>
                </c:pt>
                <c:pt idx="79">
                  <c:v>317.97194802757491</c:v>
                </c:pt>
                <c:pt idx="80">
                  <c:v>307.27243306048831</c:v>
                </c:pt>
                <c:pt idx="81">
                  <c:v>297.3123009611279</c:v>
                </c:pt>
                <c:pt idx="82">
                  <c:v>288.04766312352467</c:v>
                </c:pt>
                <c:pt idx="83">
                  <c:v>279.4142222829517</c:v>
                </c:pt>
                <c:pt idx="84">
                  <c:v>271.33551413560303</c:v>
                </c:pt>
                <c:pt idx="85">
                  <c:v>263.73113925821934</c:v>
                </c:pt>
                <c:pt idx="86">
                  <c:v>256.5207632950009</c:v>
                </c:pt>
                <c:pt idx="87">
                  <c:v>249.63356061115601</c:v>
                </c:pt>
                <c:pt idx="88">
                  <c:v>243.00739750769017</c:v>
                </c:pt>
                <c:pt idx="89">
                  <c:v>236.58733761046125</c:v>
                </c:pt>
                <c:pt idx="90">
                  <c:v>230.32432760546732</c:v>
                </c:pt>
                <c:pt idx="91">
                  <c:v>224.17466305741019</c:v>
                </c:pt>
                <c:pt idx="92">
                  <c:v>218.11159253023135</c:v>
                </c:pt>
                <c:pt idx="93">
                  <c:v>212.12158886329522</c:v>
                </c:pt>
                <c:pt idx="94">
                  <c:v>206.20044517612911</c:v>
                </c:pt>
                <c:pt idx="95">
                  <c:v>200.35015441952925</c:v>
                </c:pt>
                <c:pt idx="96">
                  <c:v>194.57653538085091</c:v>
                </c:pt>
                <c:pt idx="97">
                  <c:v>188.88740181855255</c:v>
                </c:pt>
                <c:pt idx="98">
                  <c:v>183.29151829040688</c:v>
                </c:pt>
                <c:pt idx="99">
                  <c:v>177.79843915147893</c:v>
                </c:pt>
                <c:pt idx="100">
                  <c:v>172.41920745110161</c:v>
                </c:pt>
                <c:pt idx="101">
                  <c:v>167.16508936597862</c:v>
                </c:pt>
                <c:pt idx="102">
                  <c:v>162.04641079918312</c:v>
                </c:pt>
                <c:pt idx="103">
                  <c:v>157.07188658479021</c:v>
                </c:pt>
                <c:pt idx="104">
                  <c:v>152.24846550663432</c:v>
                </c:pt>
                <c:pt idx="105">
                  <c:v>147.58144717230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5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6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9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2</c:v>
                </c:pt>
                <c:pt idx="71">
                  <c:v>250</c:v>
                </c:pt>
                <c:pt idx="72">
                  <c:v>230</c:v>
                </c:pt>
                <c:pt idx="73">
                  <c:v>243</c:v>
                </c:pt>
                <c:pt idx="74">
                  <c:v>198</c:v>
                </c:pt>
                <c:pt idx="75">
                  <c:v>158</c:v>
                </c:pt>
                <c:pt idx="76">
                  <c:v>147</c:v>
                </c:pt>
                <c:pt idx="77">
                  <c:v>253</c:v>
                </c:pt>
                <c:pt idx="78">
                  <c:v>171</c:v>
                </c:pt>
                <c:pt idx="79">
                  <c:v>181</c:v>
                </c:pt>
                <c:pt idx="80">
                  <c:v>169</c:v>
                </c:pt>
                <c:pt idx="81">
                  <c:v>175</c:v>
                </c:pt>
                <c:pt idx="82">
                  <c:v>92</c:v>
                </c:pt>
                <c:pt idx="83">
                  <c:v>100</c:v>
                </c:pt>
                <c:pt idx="84">
                  <c:v>174</c:v>
                </c:pt>
                <c:pt idx="85">
                  <c:v>137</c:v>
                </c:pt>
                <c:pt idx="86">
                  <c:v>136</c:v>
                </c:pt>
                <c:pt idx="87">
                  <c:v>114</c:v>
                </c:pt>
                <c:pt idx="88">
                  <c:v>97</c:v>
                </c:pt>
                <c:pt idx="89">
                  <c:v>57</c:v>
                </c:pt>
                <c:pt idx="9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921.27255682805844</c:v>
                </c:pt>
                <c:pt idx="11">
                  <c:v>950.04655632321374</c:v>
                </c:pt>
                <c:pt idx="12">
                  <c:v>975.06632719252957</c:v>
                </c:pt>
                <c:pt idx="13">
                  <c:v>1001.1407906556851</c:v>
                </c:pt>
                <c:pt idx="14">
                  <c:v>1026.7764563831006</c:v>
                </c:pt>
                <c:pt idx="15">
                  <c:v>1046.0537452376011</c:v>
                </c:pt>
                <c:pt idx="16">
                  <c:v>1060.0018308652943</c:v>
                </c:pt>
                <c:pt idx="17">
                  <c:v>1070.0822871986165</c:v>
                </c:pt>
                <c:pt idx="18">
                  <c:v>1075.5222993314528</c:v>
                </c:pt>
                <c:pt idx="19">
                  <c:v>1076.4434697168908</c:v>
                </c:pt>
                <c:pt idx="20">
                  <c:v>1074.9945532529964</c:v>
                </c:pt>
                <c:pt idx="21">
                  <c:v>1071.730420053631</c:v>
                </c:pt>
                <c:pt idx="22">
                  <c:v>1066.0906548018829</c:v>
                </c:pt>
                <c:pt idx="23">
                  <c:v>1058.4327563004044</c:v>
                </c:pt>
                <c:pt idx="24">
                  <c:v>1049.1434149219567</c:v>
                </c:pt>
                <c:pt idx="25">
                  <c:v>1038.1803048758593</c:v>
                </c:pt>
                <c:pt idx="26">
                  <c:v>1025.8802472121024</c:v>
                </c:pt>
                <c:pt idx="27">
                  <c:v>1012.8237392495212</c:v>
                </c:pt>
                <c:pt idx="28">
                  <c:v>998.95019865655922</c:v>
                </c:pt>
                <c:pt idx="29">
                  <c:v>984.20796425215667</c:v>
                </c:pt>
                <c:pt idx="30">
                  <c:v>968.94063105189707</c:v>
                </c:pt>
                <c:pt idx="31">
                  <c:v>953.28994503586728</c:v>
                </c:pt>
                <c:pt idx="32">
                  <c:v>937.12371862685541</c:v>
                </c:pt>
                <c:pt idx="33">
                  <c:v>920.48531541733246</c:v>
                </c:pt>
                <c:pt idx="34">
                  <c:v>903.57363142278336</c:v>
                </c:pt>
                <c:pt idx="35">
                  <c:v>886.52328910738288</c:v>
                </c:pt>
                <c:pt idx="36">
                  <c:v>869.43813617953856</c:v>
                </c:pt>
                <c:pt idx="37">
                  <c:v>852.29018096333311</c:v>
                </c:pt>
                <c:pt idx="38">
                  <c:v>834.9529185576248</c:v>
                </c:pt>
                <c:pt idx="39">
                  <c:v>817.50050248697517</c:v>
                </c:pt>
                <c:pt idx="40">
                  <c:v>800.03333895816468</c:v>
                </c:pt>
                <c:pt idx="41">
                  <c:v>782.61237937395344</c:v>
                </c:pt>
                <c:pt idx="42">
                  <c:v>765.30262352844875</c:v>
                </c:pt>
                <c:pt idx="43">
                  <c:v>748.1083249377989</c:v>
                </c:pt>
                <c:pt idx="44">
                  <c:v>731.02806413421058</c:v>
                </c:pt>
                <c:pt idx="45">
                  <c:v>714.05721546823042</c:v>
                </c:pt>
                <c:pt idx="46">
                  <c:v>697.18803854894941</c:v>
                </c:pt>
                <c:pt idx="47">
                  <c:v>680.42965736272163</c:v>
                </c:pt>
                <c:pt idx="48">
                  <c:v>663.84713073066087</c:v>
                </c:pt>
                <c:pt idx="49">
                  <c:v>647.49308926131926</c:v>
                </c:pt>
                <c:pt idx="50">
                  <c:v>631.33688608082593</c:v>
                </c:pt>
                <c:pt idx="51">
                  <c:v>615.35322313461802</c:v>
                </c:pt>
                <c:pt idx="52">
                  <c:v>599.5097274153668</c:v>
                </c:pt>
                <c:pt idx="53">
                  <c:v>583.77745633294398</c:v>
                </c:pt>
                <c:pt idx="54">
                  <c:v>568.22486903090612</c:v>
                </c:pt>
                <c:pt idx="55">
                  <c:v>552.90796327732096</c:v>
                </c:pt>
                <c:pt idx="56">
                  <c:v>537.86086035388871</c:v>
                </c:pt>
                <c:pt idx="57">
                  <c:v>523.10349996143486</c:v>
                </c:pt>
                <c:pt idx="58">
                  <c:v>508.6473111610685</c:v>
                </c:pt>
                <c:pt idx="59">
                  <c:v>494.49846949928906</c:v>
                </c:pt>
                <c:pt idx="60">
                  <c:v>480.57936834730208</c:v>
                </c:pt>
                <c:pt idx="61">
                  <c:v>466.8121717251197</c:v>
                </c:pt>
                <c:pt idx="62">
                  <c:v>453.14647159757442</c:v>
                </c:pt>
                <c:pt idx="63">
                  <c:v>439.58132036667666</c:v>
                </c:pt>
                <c:pt idx="64">
                  <c:v>426.41034429363208</c:v>
                </c:pt>
                <c:pt idx="65">
                  <c:v>413.63581237441394</c:v>
                </c:pt>
                <c:pt idx="66">
                  <c:v>401.21997763164109</c:v>
                </c:pt>
                <c:pt idx="67">
                  <c:v>389.1295271286217</c:v>
                </c:pt>
                <c:pt idx="68">
                  <c:v>377.35389991430566</c:v>
                </c:pt>
                <c:pt idx="69">
                  <c:v>365.89369477471337</c:v>
                </c:pt>
                <c:pt idx="70">
                  <c:v>354.76767928234767</c:v>
                </c:pt>
                <c:pt idx="71">
                  <c:v>345.01485770984436</c:v>
                </c:pt>
                <c:pt idx="72">
                  <c:v>336.3770177726401</c:v>
                </c:pt>
                <c:pt idx="73">
                  <c:v>328.56771912978729</c:v>
                </c:pt>
                <c:pt idx="74">
                  <c:v>321.42845670683892</c:v>
                </c:pt>
                <c:pt idx="75">
                  <c:v>314.87405804352602</c:v>
                </c:pt>
                <c:pt idx="76">
                  <c:v>308.86166115864762</c:v>
                </c:pt>
                <c:pt idx="77">
                  <c:v>303.37112527733552</c:v>
                </c:pt>
                <c:pt idx="78">
                  <c:v>298.41228831201443</c:v>
                </c:pt>
                <c:pt idx="79">
                  <c:v>293.96714568024618</c:v>
                </c:pt>
                <c:pt idx="80">
                  <c:v>289.96338165222551</c:v>
                </c:pt>
                <c:pt idx="81">
                  <c:v>286.31296636795742</c:v>
                </c:pt>
                <c:pt idx="82">
                  <c:v>282.94632585218642</c:v>
                </c:pt>
                <c:pt idx="83">
                  <c:v>279.80481217155466</c:v>
                </c:pt>
                <c:pt idx="84">
                  <c:v>276.8039597448078</c:v>
                </c:pt>
                <c:pt idx="85">
                  <c:v>273.87988578734803</c:v>
                </c:pt>
                <c:pt idx="86">
                  <c:v>270.9883103852917</c:v>
                </c:pt>
                <c:pt idx="87">
                  <c:v>268.09773692989256</c:v>
                </c:pt>
                <c:pt idx="88">
                  <c:v>265.18558467156254</c:v>
                </c:pt>
                <c:pt idx="89">
                  <c:v>262.23589740635362</c:v>
                </c:pt>
                <c:pt idx="90">
                  <c:v>259.23700278147589</c:v>
                </c:pt>
                <c:pt idx="91">
                  <c:v>256.18181618637755</c:v>
                </c:pt>
                <c:pt idx="92">
                  <c:v>253.06607577289105</c:v>
                </c:pt>
                <c:pt idx="93">
                  <c:v>249.89479026291519</c:v>
                </c:pt>
                <c:pt idx="94">
                  <c:v>246.67317550157895</c:v>
                </c:pt>
                <c:pt idx="95">
                  <c:v>243.40578245464712</c:v>
                </c:pt>
                <c:pt idx="96">
                  <c:v>240.09673015621956</c:v>
                </c:pt>
                <c:pt idx="97">
                  <c:v>236.74935964209726</c:v>
                </c:pt>
                <c:pt idx="98">
                  <c:v>233.38809097983176</c:v>
                </c:pt>
                <c:pt idx="99">
                  <c:v>230.03116606117692</c:v>
                </c:pt>
                <c:pt idx="100">
                  <c:v>226.68941937322961</c:v>
                </c:pt>
                <c:pt idx="101">
                  <c:v>223.3689852024545</c:v>
                </c:pt>
                <c:pt idx="102">
                  <c:v>220.07255606149556</c:v>
                </c:pt>
                <c:pt idx="103">
                  <c:v>216.80117726014578</c:v>
                </c:pt>
                <c:pt idx="104">
                  <c:v>213.55495083265123</c:v>
                </c:pt>
                <c:pt idx="105">
                  <c:v>210.3333551776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884.38390631374205</c:v>
                </c:pt>
                <c:pt idx="11">
                  <c:v>903.6086874591856</c:v>
                </c:pt>
                <c:pt idx="12">
                  <c:v>924.08261141896946</c:v>
                </c:pt>
                <c:pt idx="13">
                  <c:v>945.89512726065004</c:v>
                </c:pt>
                <c:pt idx="14">
                  <c:v>967.35277248696366</c:v>
                </c:pt>
                <c:pt idx="15">
                  <c:v>982.36031537214876</c:v>
                </c:pt>
                <c:pt idx="16">
                  <c:v>992.01054728229064</c:v>
                </c:pt>
                <c:pt idx="17">
                  <c:v>998.06001514534</c:v>
                </c:pt>
                <c:pt idx="18">
                  <c:v>1000.1909763954754</c:v>
                </c:pt>
                <c:pt idx="19">
                  <c:v>998.20846727043681</c:v>
                </c:pt>
                <c:pt idx="20">
                  <c:v>994.39957840552961</c:v>
                </c:pt>
                <c:pt idx="21">
                  <c:v>989.30084216999239</c:v>
                </c:pt>
                <c:pt idx="22">
                  <c:v>982.20181088507525</c:v>
                </c:pt>
                <c:pt idx="23">
                  <c:v>973.1697459405259</c:v>
                </c:pt>
                <c:pt idx="24">
                  <c:v>962.48167363522225</c:v>
                </c:pt>
                <c:pt idx="25">
                  <c:v>950.03545543961809</c:v>
                </c:pt>
                <c:pt idx="26">
                  <c:v>936.16293754776416</c:v>
                </c:pt>
                <c:pt idx="27">
                  <c:v>921.46707436833822</c:v>
                </c:pt>
                <c:pt idx="28">
                  <c:v>905.98284563023481</c:v>
                </c:pt>
                <c:pt idx="29">
                  <c:v>889.56518772734853</c:v>
                </c:pt>
                <c:pt idx="30">
                  <c:v>872.49347271431179</c:v>
                </c:pt>
                <c:pt idx="31">
                  <c:v>854.83214602930821</c:v>
                </c:pt>
                <c:pt idx="32">
                  <c:v>836.39957257307833</c:v>
                </c:pt>
                <c:pt idx="33">
                  <c:v>817.25631446288025</c:v>
                </c:pt>
                <c:pt idx="34">
                  <c:v>797.71290197565395</c:v>
                </c:pt>
                <c:pt idx="35">
                  <c:v>778.05174916201213</c:v>
                </c:pt>
                <c:pt idx="36">
                  <c:v>758.3997381797526</c:v>
                </c:pt>
                <c:pt idx="37">
                  <c:v>738.69529987391434</c:v>
                </c:pt>
                <c:pt idx="38">
                  <c:v>718.80011407006532</c:v>
                </c:pt>
                <c:pt idx="39">
                  <c:v>698.79185041776509</c:v>
                </c:pt>
                <c:pt idx="40">
                  <c:v>678.82003224144864</c:v>
                </c:pt>
                <c:pt idx="41">
                  <c:v>659.03956928952539</c:v>
                </c:pt>
                <c:pt idx="42">
                  <c:v>639.57849625353992</c:v>
                </c:pt>
                <c:pt idx="43">
                  <c:v>620.45481770299375</c:v>
                </c:pt>
                <c:pt idx="44">
                  <c:v>601.66233328545059</c:v>
                </c:pt>
                <c:pt idx="45">
                  <c:v>583.19925045051787</c:v>
                </c:pt>
                <c:pt idx="46">
                  <c:v>565.07339925922861</c:v>
                </c:pt>
                <c:pt idx="47">
                  <c:v>547.31265593133867</c:v>
                </c:pt>
                <c:pt idx="48">
                  <c:v>529.99596664796991</c:v>
                </c:pt>
                <c:pt idx="49">
                  <c:v>513.18786240006739</c:v>
                </c:pt>
                <c:pt idx="50">
                  <c:v>496.86811381904408</c:v>
                </c:pt>
                <c:pt idx="51">
                  <c:v>480.99391864187783</c:v>
                </c:pt>
                <c:pt idx="52">
                  <c:v>465.53973728281562</c:v>
                </c:pt>
                <c:pt idx="53">
                  <c:v>450.48744319478283</c:v>
                </c:pt>
                <c:pt idx="54">
                  <c:v>435.76921703055268</c:v>
                </c:pt>
                <c:pt idx="55">
                  <c:v>421.33992903726175</c:v>
                </c:pt>
                <c:pt idx="56">
                  <c:v>407.17595683965192</c:v>
                </c:pt>
                <c:pt idx="57">
                  <c:v>393.26620616402943</c:v>
                </c:pt>
                <c:pt idx="58">
                  <c:v>379.60724750248482</c:v>
                </c:pt>
                <c:pt idx="59">
                  <c:v>366.19979807554046</c:v>
                </c:pt>
                <c:pt idx="60">
                  <c:v>353.04659596872807</c:v>
                </c:pt>
                <c:pt idx="61">
                  <c:v>340.15221975115128</c:v>
                </c:pt>
                <c:pt idx="62">
                  <c:v>327.52303667229717</c:v>
                </c:pt>
                <c:pt idx="63">
                  <c:v>315.17333894029434</c:v>
                </c:pt>
                <c:pt idx="64">
                  <c:v>303.28891621840012</c:v>
                </c:pt>
                <c:pt idx="65">
                  <c:v>291.82357002896606</c:v>
                </c:pt>
                <c:pt idx="66">
                  <c:v>280.75187396838737</c:v>
                </c:pt>
                <c:pt idx="67">
                  <c:v>270.07205859771057</c:v>
                </c:pt>
                <c:pt idx="68">
                  <c:v>259.80818395588722</c:v>
                </c:pt>
                <c:pt idx="69">
                  <c:v>249.97861379479582</c:v>
                </c:pt>
                <c:pt idx="70">
                  <c:v>240.58930518641137</c:v>
                </c:pt>
                <c:pt idx="71">
                  <c:v>232.27247631837963</c:v>
                </c:pt>
                <c:pt idx="72">
                  <c:v>224.80722686517402</c:v>
                </c:pt>
                <c:pt idx="73">
                  <c:v>218.00046335271327</c:v>
                </c:pt>
                <c:pt idx="74">
                  <c:v>211.74739770250744</c:v>
                </c:pt>
                <c:pt idx="75">
                  <c:v>205.98898279498098</c:v>
                </c:pt>
                <c:pt idx="76">
                  <c:v>200.69039088851423</c:v>
                </c:pt>
                <c:pt idx="77">
                  <c:v>195.82257913635112</c:v>
                </c:pt>
                <c:pt idx="78">
                  <c:v>191.35324913766817</c:v>
                </c:pt>
                <c:pt idx="79">
                  <c:v>187.23400675834273</c:v>
                </c:pt>
                <c:pt idx="80">
                  <c:v>183.41614469568594</c:v>
                </c:pt>
                <c:pt idx="81">
                  <c:v>179.85111366401543</c:v>
                </c:pt>
                <c:pt idx="82">
                  <c:v>176.4964577065839</c:v>
                </c:pt>
                <c:pt idx="83">
                  <c:v>173.18562888837187</c:v>
                </c:pt>
                <c:pt idx="84">
                  <c:v>169.7997917412431</c:v>
                </c:pt>
                <c:pt idx="85">
                  <c:v>166.2761418313894</c:v>
                </c:pt>
                <c:pt idx="86">
                  <c:v>162.57948949126876</c:v>
                </c:pt>
                <c:pt idx="87">
                  <c:v>158.74023052831762</c:v>
                </c:pt>
                <c:pt idx="88">
                  <c:v>154.78277744015213</c:v>
                </c:pt>
                <c:pt idx="89">
                  <c:v>150.72075966437114</c:v>
                </c:pt>
                <c:pt idx="90">
                  <c:v>146.56166901675169</c:v>
                </c:pt>
                <c:pt idx="91">
                  <c:v>142.31300130949239</c:v>
                </c:pt>
                <c:pt idx="92">
                  <c:v>138.06829791341443</c:v>
                </c:pt>
                <c:pt idx="93">
                  <c:v>133.89507531910203</c:v>
                </c:pt>
                <c:pt idx="94">
                  <c:v>129.83145349408733</c:v>
                </c:pt>
                <c:pt idx="95">
                  <c:v>125.89689390052808</c:v>
                </c:pt>
                <c:pt idx="96">
                  <c:v>122.09933312403155</c:v>
                </c:pt>
                <c:pt idx="97">
                  <c:v>118.43929914027103</c:v>
                </c:pt>
                <c:pt idx="98">
                  <c:v>114.91401047346881</c:v>
                </c:pt>
                <c:pt idx="99">
                  <c:v>111.52403952769237</c:v>
                </c:pt>
                <c:pt idx="100">
                  <c:v>108.27734827657696</c:v>
                </c:pt>
                <c:pt idx="101">
                  <c:v>105.17553286097245</c:v>
                </c:pt>
                <c:pt idx="102">
                  <c:v>102.21505951925064</c:v>
                </c:pt>
                <c:pt idx="103">
                  <c:v>99.389812466863077</c:v>
                </c:pt>
                <c:pt idx="104">
                  <c:v>96.692725172499195</c:v>
                </c:pt>
                <c:pt idx="105">
                  <c:v>94.116862423426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4.2910924640455</c:v>
                </c:pt>
                <c:pt idx="13">
                  <c:v>1034.6599045577896</c:v>
                </c:pt>
                <c:pt idx="14">
                  <c:v>1064.6510091166128</c:v>
                </c:pt>
                <c:pt idx="15">
                  <c:v>1088.4430152635177</c:v>
                </c:pt>
                <c:pt idx="16">
                  <c:v>1107.0225666343176</c:v>
                </c:pt>
                <c:pt idx="17">
                  <c:v>1121.6862178713054</c:v>
                </c:pt>
                <c:pt idx="18">
                  <c:v>1131.3569439937419</c:v>
                </c:pt>
                <c:pt idx="19">
                  <c:v>1136.25746795538</c:v>
                </c:pt>
                <c:pt idx="20">
                  <c:v>1138.43396380372</c:v>
                </c:pt>
                <c:pt idx="21">
                  <c:v>1138.4324741638702</c:v>
                </c:pt>
                <c:pt idx="22">
                  <c:v>1135.725348398395</c:v>
                </c:pt>
                <c:pt idx="23">
                  <c:v>1130.7752992526948</c:v>
                </c:pt>
                <c:pt idx="24">
                  <c:v>1123.9901338405325</c:v>
                </c:pt>
                <c:pt idx="25">
                  <c:v>1115.335941099198</c:v>
                </c:pt>
                <c:pt idx="26">
                  <c:v>1105.1641549790947</c:v>
                </c:pt>
                <c:pt idx="27">
                  <c:v>1094.0612799294468</c:v>
                </c:pt>
                <c:pt idx="28">
                  <c:v>1081.9455917359737</c:v>
                </c:pt>
                <c:pt idx="29">
                  <c:v>1068.807309041993</c:v>
                </c:pt>
                <c:pt idx="30">
                  <c:v>1055.0241557096015</c:v>
                </c:pt>
                <c:pt idx="31">
                  <c:v>1040.7550864105142</c:v>
                </c:pt>
                <c:pt idx="32">
                  <c:v>1025.8891083156777</c:v>
                </c:pt>
                <c:pt idx="33">
                  <c:v>1010.4870239173761</c:v>
                </c:pt>
                <c:pt idx="34">
                  <c:v>994.72321121889399</c:v>
                </c:pt>
                <c:pt idx="35">
                  <c:v>978.69698404413066</c:v>
                </c:pt>
                <c:pt idx="36">
                  <c:v>962.54717531692586</c:v>
                </c:pt>
                <c:pt idx="37">
                  <c:v>946.29235946733388</c:v>
                </c:pt>
                <c:pt idx="38">
                  <c:v>929.82535322969488</c:v>
                </c:pt>
                <c:pt idx="39">
                  <c:v>913.24308283273422</c:v>
                </c:pt>
                <c:pt idx="40">
                  <c:v>896.66251538325741</c:v>
                </c:pt>
                <c:pt idx="41">
                  <c:v>880.08043509261915</c:v>
                </c:pt>
                <c:pt idx="42">
                  <c:v>863.52737050990982</c:v>
                </c:pt>
                <c:pt idx="43">
                  <c:v>847.03251603296667</c:v>
                </c:pt>
                <c:pt idx="44">
                  <c:v>830.62018137803534</c:v>
                </c:pt>
                <c:pt idx="45">
                  <c:v>814.31117072822235</c:v>
                </c:pt>
                <c:pt idx="46">
                  <c:v>798.12355009600287</c:v>
                </c:pt>
                <c:pt idx="47">
                  <c:v>782.07311385739013</c:v>
                </c:pt>
                <c:pt idx="48">
                  <c:v>766.1737004002498</c:v>
                </c:pt>
                <c:pt idx="49">
                  <c:v>750.43742859226768</c:v>
                </c:pt>
                <c:pt idx="50">
                  <c:v>734.87488919234602</c:v>
                </c:pt>
                <c:pt idx="51">
                  <c:v>719.4953075258527</c:v>
                </c:pt>
                <c:pt idx="52">
                  <c:v>704.30668544929358</c:v>
                </c:pt>
                <c:pt idx="53">
                  <c:v>689.31592683456256</c:v>
                </c:pt>
                <c:pt idx="54">
                  <c:v>674.52894909714814</c:v>
                </c:pt>
                <c:pt idx="55">
                  <c:v>659.95078252410167</c:v>
                </c:pt>
                <c:pt idx="56">
                  <c:v>645.58565879779053</c:v>
                </c:pt>
                <c:pt idx="57">
                  <c:v>631.43708992260508</c:v>
                </c:pt>
                <c:pt idx="58">
                  <c:v>617.50793863032595</c:v>
                </c:pt>
                <c:pt idx="59">
                  <c:v>603.80048123886809</c:v>
                </c:pt>
                <c:pt idx="60">
                  <c:v>590.31646384013584</c:v>
                </c:pt>
                <c:pt idx="61">
                  <c:v>577.05715260203579</c:v>
                </c:pt>
                <c:pt idx="62">
                  <c:v>564.02337888264447</c:v>
                </c:pt>
                <c:pt idx="63">
                  <c:v>551.21557977280463</c:v>
                </c:pt>
                <c:pt idx="64">
                  <c:v>538.63383460993646</c:v>
                </c:pt>
                <c:pt idx="65">
                  <c:v>526.27789793809643</c:v>
                </c:pt>
                <c:pt idx="66">
                  <c:v>514.14722932939185</c:v>
                </c:pt>
                <c:pt idx="67">
                  <c:v>502.24102042918094</c:v>
                </c:pt>
                <c:pt idx="68">
                  <c:v>490.55821954092244</c:v>
                </c:pt>
                <c:pt idx="69">
                  <c:v>479.09755402573501</c:v>
                </c:pt>
                <c:pt idx="70">
                  <c:v>467.8575507561327</c:v>
                </c:pt>
                <c:pt idx="71">
                  <c:v>456.83655483319308</c:v>
                </c:pt>
                <c:pt idx="72">
                  <c:v>446.03274674975546</c:v>
                </c:pt>
                <c:pt idx="73">
                  <c:v>435.44415815870161</c:v>
                </c:pt>
                <c:pt idx="74">
                  <c:v>425.06868638601736</c:v>
                </c:pt>
                <c:pt idx="75">
                  <c:v>414.90410781075479</c:v>
                </c:pt>
                <c:pt idx="76">
                  <c:v>404.94809021975379</c:v>
                </c:pt>
                <c:pt idx="77">
                  <c:v>395.19820423098281</c:v>
                </c:pt>
                <c:pt idx="78">
                  <c:v>385.65193386908504</c:v>
                </c:pt>
                <c:pt idx="79">
                  <c:v>376.30668636763585</c:v>
                </c:pt>
                <c:pt idx="80">
                  <c:v>367.15980126202339</c:v>
                </c:pt>
                <c:pt idx="81">
                  <c:v>358.20855883232434</c:v>
                </c:pt>
                <c:pt idx="82">
                  <c:v>349.45018794763018</c:v>
                </c:pt>
                <c:pt idx="83">
                  <c:v>340.88187335742987</c:v>
                </c:pt>
                <c:pt idx="84">
                  <c:v>332.50076247288962</c:v>
                </c:pt>
                <c:pt idx="85">
                  <c:v>324.30397167440969</c:v>
                </c:pt>
                <c:pt idx="86">
                  <c:v>316.28859217913123</c:v>
                </c:pt>
                <c:pt idx="87">
                  <c:v>308.45169550017454</c:v>
                </c:pt>
                <c:pt idx="88">
                  <c:v>300.79033852333669</c:v>
                </c:pt>
                <c:pt idx="89">
                  <c:v>293.30156822878052</c:v>
                </c:pt>
                <c:pt idx="90">
                  <c:v>285.98242607872817</c:v>
                </c:pt>
                <c:pt idx="91">
                  <c:v>278.82995209406363</c:v>
                </c:pt>
                <c:pt idx="92">
                  <c:v>271.84118863809272</c:v>
                </c:pt>
                <c:pt idx="93">
                  <c:v>265.01318392631947</c:v>
                </c:pt>
                <c:pt idx="94">
                  <c:v>258.34299527821713</c:v>
                </c:pt>
                <c:pt idx="95">
                  <c:v>251.82769212688436</c:v>
                </c:pt>
                <c:pt idx="96">
                  <c:v>245.46435880078934</c:v>
                </c:pt>
                <c:pt idx="97">
                  <c:v>239.25009709098958</c:v>
                </c:pt>
                <c:pt idx="98">
                  <c:v>233.18202861610916</c:v>
                </c:pt>
                <c:pt idx="99">
                  <c:v>227.25729699744261</c:v>
                </c:pt>
                <c:pt idx="100">
                  <c:v>221.4730698542844</c:v>
                </c:pt>
                <c:pt idx="101">
                  <c:v>215.8265406305436</c:v>
                </c:pt>
                <c:pt idx="102">
                  <c:v>210.31493026213138</c:v>
                </c:pt>
                <c:pt idx="103">
                  <c:v>204.9354886940273</c:v>
                </c:pt>
                <c:pt idx="104">
                  <c:v>199.68549625607557</c:v>
                </c:pt>
                <c:pt idx="105">
                  <c:v>194.562264905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2</c:v>
                </c:pt>
                <c:pt idx="4">
                  <c:v>179</c:v>
                </c:pt>
                <c:pt idx="5">
                  <c:v>176</c:v>
                </c:pt>
                <c:pt idx="6">
                  <c:v>147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1</c:v>
                </c:pt>
                <c:pt idx="12">
                  <c:v>192</c:v>
                </c:pt>
                <c:pt idx="13">
                  <c:v>180</c:v>
                </c:pt>
                <c:pt idx="14">
                  <c:v>204</c:v>
                </c:pt>
                <c:pt idx="15">
                  <c:v>191</c:v>
                </c:pt>
                <c:pt idx="16">
                  <c:v>200</c:v>
                </c:pt>
                <c:pt idx="17">
                  <c:v>214</c:v>
                </c:pt>
                <c:pt idx="18">
                  <c:v>182</c:v>
                </c:pt>
                <c:pt idx="19">
                  <c:v>207</c:v>
                </c:pt>
                <c:pt idx="20">
                  <c:v>202</c:v>
                </c:pt>
                <c:pt idx="21">
                  <c:v>235</c:v>
                </c:pt>
                <c:pt idx="22">
                  <c:v>227</c:v>
                </c:pt>
                <c:pt idx="23">
                  <c:v>225</c:v>
                </c:pt>
                <c:pt idx="24">
                  <c:v>230</c:v>
                </c:pt>
                <c:pt idx="25">
                  <c:v>209</c:v>
                </c:pt>
                <c:pt idx="26">
                  <c:v>178</c:v>
                </c:pt>
                <c:pt idx="27">
                  <c:v>226</c:v>
                </c:pt>
                <c:pt idx="28">
                  <c:v>236</c:v>
                </c:pt>
                <c:pt idx="29">
                  <c:v>216</c:v>
                </c:pt>
                <c:pt idx="30">
                  <c:v>198</c:v>
                </c:pt>
                <c:pt idx="31">
                  <c:v>213</c:v>
                </c:pt>
                <c:pt idx="32">
                  <c:v>173</c:v>
                </c:pt>
                <c:pt idx="33">
                  <c:v>180</c:v>
                </c:pt>
                <c:pt idx="34">
                  <c:v>191</c:v>
                </c:pt>
                <c:pt idx="35">
                  <c:v>206</c:v>
                </c:pt>
                <c:pt idx="36">
                  <c:v>191</c:v>
                </c:pt>
                <c:pt idx="37">
                  <c:v>181</c:v>
                </c:pt>
                <c:pt idx="38">
                  <c:v>158</c:v>
                </c:pt>
                <c:pt idx="39">
                  <c:v>152</c:v>
                </c:pt>
                <c:pt idx="40">
                  <c:v>179</c:v>
                </c:pt>
                <c:pt idx="41">
                  <c:v>117</c:v>
                </c:pt>
                <c:pt idx="42">
                  <c:v>176</c:v>
                </c:pt>
                <c:pt idx="43">
                  <c:v>170</c:v>
                </c:pt>
                <c:pt idx="44">
                  <c:v>151</c:v>
                </c:pt>
                <c:pt idx="45">
                  <c:v>147</c:v>
                </c:pt>
                <c:pt idx="46">
                  <c:v>103</c:v>
                </c:pt>
                <c:pt idx="47">
                  <c:v>123</c:v>
                </c:pt>
                <c:pt idx="48">
                  <c:v>140</c:v>
                </c:pt>
                <c:pt idx="49">
                  <c:v>121</c:v>
                </c:pt>
                <c:pt idx="50">
                  <c:v>114</c:v>
                </c:pt>
                <c:pt idx="51">
                  <c:v>123</c:v>
                </c:pt>
                <c:pt idx="52">
                  <c:v>121</c:v>
                </c:pt>
                <c:pt idx="53">
                  <c:v>104</c:v>
                </c:pt>
                <c:pt idx="54">
                  <c:v>107</c:v>
                </c:pt>
                <c:pt idx="55">
                  <c:v>89</c:v>
                </c:pt>
                <c:pt idx="56">
                  <c:v>83</c:v>
                </c:pt>
                <c:pt idx="57">
                  <c:v>91</c:v>
                </c:pt>
                <c:pt idx="58">
                  <c:v>89</c:v>
                </c:pt>
                <c:pt idx="59">
                  <c:v>86</c:v>
                </c:pt>
                <c:pt idx="60">
                  <c:v>63</c:v>
                </c:pt>
                <c:pt idx="61">
                  <c:v>73</c:v>
                </c:pt>
                <c:pt idx="62">
                  <c:v>78</c:v>
                </c:pt>
                <c:pt idx="63">
                  <c:v>70</c:v>
                </c:pt>
                <c:pt idx="64">
                  <c:v>62</c:v>
                </c:pt>
                <c:pt idx="65">
                  <c:v>64</c:v>
                </c:pt>
                <c:pt idx="66">
                  <c:v>57</c:v>
                </c:pt>
                <c:pt idx="67">
                  <c:v>51</c:v>
                </c:pt>
                <c:pt idx="68">
                  <c:v>53</c:v>
                </c:pt>
                <c:pt idx="69">
                  <c:v>52</c:v>
                </c:pt>
                <c:pt idx="70">
                  <c:v>56</c:v>
                </c:pt>
                <c:pt idx="71">
                  <c:v>50</c:v>
                </c:pt>
                <c:pt idx="72">
                  <c:v>66</c:v>
                </c:pt>
                <c:pt idx="73">
                  <c:v>42</c:v>
                </c:pt>
                <c:pt idx="74">
                  <c:v>48</c:v>
                </c:pt>
                <c:pt idx="75">
                  <c:v>32</c:v>
                </c:pt>
                <c:pt idx="76">
                  <c:v>36</c:v>
                </c:pt>
                <c:pt idx="77">
                  <c:v>35</c:v>
                </c:pt>
                <c:pt idx="78">
                  <c:v>43</c:v>
                </c:pt>
                <c:pt idx="79">
                  <c:v>36</c:v>
                </c:pt>
                <c:pt idx="80">
                  <c:v>38</c:v>
                </c:pt>
                <c:pt idx="81">
                  <c:v>28</c:v>
                </c:pt>
                <c:pt idx="82">
                  <c:v>30</c:v>
                </c:pt>
                <c:pt idx="83">
                  <c:v>32</c:v>
                </c:pt>
                <c:pt idx="84">
                  <c:v>31</c:v>
                </c:pt>
                <c:pt idx="85">
                  <c:v>32</c:v>
                </c:pt>
                <c:pt idx="86">
                  <c:v>31</c:v>
                </c:pt>
                <c:pt idx="87">
                  <c:v>21</c:v>
                </c:pt>
                <c:pt idx="88">
                  <c:v>13</c:v>
                </c:pt>
                <c:pt idx="89">
                  <c:v>13</c:v>
                </c:pt>
                <c:pt idx="9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34.08779717902181</c:v>
                </c:pt>
                <c:pt idx="11">
                  <c:v>138.3169686815144</c:v>
                </c:pt>
                <c:pt idx="12">
                  <c:v>142.58193610812279</c:v>
                </c:pt>
                <c:pt idx="13">
                  <c:v>147.69441769202919</c:v>
                </c:pt>
                <c:pt idx="14">
                  <c:v>152.85989829812647</c:v>
                </c:pt>
                <c:pt idx="15">
                  <c:v>157.73374849184216</c:v>
                </c:pt>
                <c:pt idx="16">
                  <c:v>162.73080074210259</c:v>
                </c:pt>
                <c:pt idx="17">
                  <c:v>167.80606666074425</c:v>
                </c:pt>
                <c:pt idx="18">
                  <c:v>172.33978088474313</c:v>
                </c:pt>
                <c:pt idx="19">
                  <c:v>176.56930809441448</c:v>
                </c:pt>
                <c:pt idx="20">
                  <c:v>180.64665746071981</c:v>
                </c:pt>
                <c:pt idx="21">
                  <c:v>184.14614497001352</c:v>
                </c:pt>
                <c:pt idx="22">
                  <c:v>187.17308187404208</c:v>
                </c:pt>
                <c:pt idx="23">
                  <c:v>190.12402256427134</c:v>
                </c:pt>
                <c:pt idx="24">
                  <c:v>192.49604142145537</c:v>
                </c:pt>
                <c:pt idx="25">
                  <c:v>194.09987642500889</c:v>
                </c:pt>
                <c:pt idx="26">
                  <c:v>195.535306363686</c:v>
                </c:pt>
                <c:pt idx="27">
                  <c:v>196.72721268298469</c:v>
                </c:pt>
                <c:pt idx="28">
                  <c:v>197.33250825405031</c:v>
                </c:pt>
                <c:pt idx="29">
                  <c:v>197.38065219143115</c:v>
                </c:pt>
                <c:pt idx="30">
                  <c:v>197.33345524557038</c:v>
                </c:pt>
                <c:pt idx="31">
                  <c:v>196.87932495703231</c:v>
                </c:pt>
                <c:pt idx="32">
                  <c:v>195.91437691191538</c:v>
                </c:pt>
                <c:pt idx="33">
                  <c:v>194.80609862624121</c:v>
                </c:pt>
                <c:pt idx="34">
                  <c:v>193.3725708249751</c:v>
                </c:pt>
                <c:pt idx="35">
                  <c:v>191.70027083395465</c:v>
                </c:pt>
                <c:pt idx="36">
                  <c:v>189.78988947651385</c:v>
                </c:pt>
                <c:pt idx="37">
                  <c:v>187.68363624133346</c:v>
                </c:pt>
                <c:pt idx="38">
                  <c:v>185.43704120682304</c:v>
                </c:pt>
                <c:pt idx="39">
                  <c:v>182.94832177233084</c:v>
                </c:pt>
                <c:pt idx="40">
                  <c:v>180.38139330338066</c:v>
                </c:pt>
                <c:pt idx="41">
                  <c:v>177.68500177828753</c:v>
                </c:pt>
                <c:pt idx="42">
                  <c:v>174.85284108958052</c:v>
                </c:pt>
                <c:pt idx="43">
                  <c:v>171.93833084382118</c:v>
                </c:pt>
                <c:pt idx="44">
                  <c:v>168.95364208998026</c:v>
                </c:pt>
                <c:pt idx="45">
                  <c:v>165.90998119287966</c:v>
                </c:pt>
                <c:pt idx="46">
                  <c:v>162.76651826398219</c:v>
                </c:pt>
                <c:pt idx="47">
                  <c:v>159.60044937796226</c:v>
                </c:pt>
                <c:pt idx="48">
                  <c:v>156.43872436935516</c:v>
                </c:pt>
                <c:pt idx="49">
                  <c:v>153.21063179960606</c:v>
                </c:pt>
                <c:pt idx="50">
                  <c:v>149.97542628203223</c:v>
                </c:pt>
                <c:pt idx="51">
                  <c:v>146.74505537907396</c:v>
                </c:pt>
                <c:pt idx="52">
                  <c:v>143.50898549948164</c:v>
                </c:pt>
                <c:pt idx="53">
                  <c:v>140.27906349263927</c:v>
                </c:pt>
                <c:pt idx="54">
                  <c:v>137.04255913246152</c:v>
                </c:pt>
                <c:pt idx="55">
                  <c:v>133.8144519144079</c:v>
                </c:pt>
                <c:pt idx="56">
                  <c:v>130.59310715313438</c:v>
                </c:pt>
                <c:pt idx="57">
                  <c:v>127.39984007021272</c:v>
                </c:pt>
                <c:pt idx="58">
                  <c:v>124.23841050653749</c:v>
                </c:pt>
                <c:pt idx="59">
                  <c:v>121.10804276656714</c:v>
                </c:pt>
                <c:pt idx="60">
                  <c:v>118.00374272665755</c:v>
                </c:pt>
                <c:pt idx="61">
                  <c:v>114.93646265992886</c:v>
                </c:pt>
                <c:pt idx="62">
                  <c:v>111.89809819371212</c:v>
                </c:pt>
                <c:pt idx="63">
                  <c:v>108.88711927061894</c:v>
                </c:pt>
                <c:pt idx="64">
                  <c:v>105.92285357051651</c:v>
                </c:pt>
                <c:pt idx="65">
                  <c:v>102.9751169905752</c:v>
                </c:pt>
                <c:pt idx="66">
                  <c:v>100.07694613153244</c:v>
                </c:pt>
                <c:pt idx="67">
                  <c:v>97.236149264908533</c:v>
                </c:pt>
                <c:pt idx="68">
                  <c:v>94.419507864979593</c:v>
                </c:pt>
                <c:pt idx="69">
                  <c:v>91.649276042638689</c:v>
                </c:pt>
                <c:pt idx="70">
                  <c:v>88.929740501859158</c:v>
                </c:pt>
                <c:pt idx="71">
                  <c:v>86.265176939855721</c:v>
                </c:pt>
                <c:pt idx="72">
                  <c:v>83.67380559320533</c:v>
                </c:pt>
                <c:pt idx="73">
                  <c:v>81.165987025222591</c:v>
                </c:pt>
                <c:pt idx="74">
                  <c:v>78.749714370619387</c:v>
                </c:pt>
                <c:pt idx="75">
                  <c:v>76.43027095192015</c:v>
                </c:pt>
                <c:pt idx="76">
                  <c:v>74.21017979911953</c:v>
                </c:pt>
                <c:pt idx="77">
                  <c:v>72.091763842270367</c:v>
                </c:pt>
                <c:pt idx="78">
                  <c:v>70.077193909677078</c:v>
                </c:pt>
                <c:pt idx="79">
                  <c:v>68.167238986247312</c:v>
                </c:pt>
                <c:pt idx="80">
                  <c:v>66.361947086257089</c:v>
                </c:pt>
                <c:pt idx="81">
                  <c:v>64.660087765109054</c:v>
                </c:pt>
                <c:pt idx="82">
                  <c:v>63.059049535498602</c:v>
                </c:pt>
                <c:pt idx="83">
                  <c:v>61.554554410524879</c:v>
                </c:pt>
                <c:pt idx="84">
                  <c:v>60.14160792889902</c:v>
                </c:pt>
                <c:pt idx="85">
                  <c:v>58.813742979496723</c:v>
                </c:pt>
                <c:pt idx="86">
                  <c:v>57.563743492488285</c:v>
                </c:pt>
                <c:pt idx="87">
                  <c:v>56.384360325950986</c:v>
                </c:pt>
                <c:pt idx="88">
                  <c:v>55.268007872137922</c:v>
                </c:pt>
                <c:pt idx="89">
                  <c:v>54.206396984745837</c:v>
                </c:pt>
                <c:pt idx="90">
                  <c:v>53.192225825476413</c:v>
                </c:pt>
                <c:pt idx="91">
                  <c:v>52.218687639011719</c:v>
                </c:pt>
                <c:pt idx="92">
                  <c:v>51.279275066603759</c:v>
                </c:pt>
                <c:pt idx="93">
                  <c:v>50.367745564389118</c:v>
                </c:pt>
                <c:pt idx="94">
                  <c:v>49.478937255691562</c:v>
                </c:pt>
                <c:pt idx="95">
                  <c:v>48.608480159220768</c:v>
                </c:pt>
                <c:pt idx="96">
                  <c:v>47.75232426704747</c:v>
                </c:pt>
                <c:pt idx="97">
                  <c:v>46.907259583076403</c:v>
                </c:pt>
                <c:pt idx="98">
                  <c:v>46.070919733097931</c:v>
                </c:pt>
                <c:pt idx="99">
                  <c:v>45.241790307196972</c:v>
                </c:pt>
                <c:pt idx="100">
                  <c:v>44.419007884676091</c:v>
                </c:pt>
                <c:pt idx="101">
                  <c:v>43.6020131291681</c:v>
                </c:pt>
                <c:pt idx="102">
                  <c:v>42.790781167859194</c:v>
                </c:pt>
                <c:pt idx="103">
                  <c:v>41.985219757867753</c:v>
                </c:pt>
                <c:pt idx="104">
                  <c:v>41.185525298331129</c:v>
                </c:pt>
                <c:pt idx="105">
                  <c:v>40.392049081935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33.67225201990925</c:v>
                </c:pt>
                <c:pt idx="11">
                  <c:v>137.08871174325824</c:v>
                </c:pt>
                <c:pt idx="12">
                  <c:v>140.48076864243941</c:v>
                </c:pt>
                <c:pt idx="13">
                  <c:v>144.61312895008422</c:v>
                </c:pt>
                <c:pt idx="14">
                  <c:v>148.74759729564039</c:v>
                </c:pt>
                <c:pt idx="15">
                  <c:v>152.61454528146712</c:v>
                </c:pt>
                <c:pt idx="16">
                  <c:v>156.56754325948657</c:v>
                </c:pt>
                <c:pt idx="17">
                  <c:v>160.56169480031534</c:v>
                </c:pt>
                <c:pt idx="18">
                  <c:v>164.06265133427922</c:v>
                </c:pt>
                <c:pt idx="19">
                  <c:v>167.30045785960448</c:v>
                </c:pt>
                <c:pt idx="20">
                  <c:v>170.41652689652705</c:v>
                </c:pt>
                <c:pt idx="21">
                  <c:v>172.98693340665886</c:v>
                </c:pt>
                <c:pt idx="22">
                  <c:v>175.15919834059889</c:v>
                </c:pt>
                <c:pt idx="23">
                  <c:v>177.29129103603395</c:v>
                </c:pt>
                <c:pt idx="24">
                  <c:v>178.91077190810333</c:v>
                </c:pt>
                <c:pt idx="25">
                  <c:v>179.79712423555756</c:v>
                </c:pt>
                <c:pt idx="26">
                  <c:v>180.54680740193697</c:v>
                </c:pt>
                <c:pt idx="27">
                  <c:v>181.08710623477572</c:v>
                </c:pt>
                <c:pt idx="28">
                  <c:v>181.09082108393829</c:v>
                </c:pt>
                <c:pt idx="29">
                  <c:v>180.55367267818471</c:v>
                </c:pt>
                <c:pt idx="30">
                  <c:v>179.93584570379454</c:v>
                </c:pt>
                <c:pt idx="31">
                  <c:v>178.92915666417528</c:v>
                </c:pt>
                <c:pt idx="32">
                  <c:v>177.430389952105</c:v>
                </c:pt>
                <c:pt idx="33">
                  <c:v>175.78053515041569</c:v>
                </c:pt>
                <c:pt idx="34">
                  <c:v>173.8064869158151</c:v>
                </c:pt>
                <c:pt idx="35">
                  <c:v>171.58839940704402</c:v>
                </c:pt>
                <c:pt idx="36">
                  <c:v>169.11810463465969</c:v>
                </c:pt>
                <c:pt idx="37">
                  <c:v>166.44421114141338</c:v>
                </c:pt>
                <c:pt idx="38">
                  <c:v>163.622389761064</c:v>
                </c:pt>
                <c:pt idx="39">
                  <c:v>160.5499802481859</c:v>
                </c:pt>
                <c:pt idx="40">
                  <c:v>157.3948257367384</c:v>
                </c:pt>
                <c:pt idx="41">
                  <c:v>154.09926379402825</c:v>
                </c:pt>
                <c:pt idx="42">
                  <c:v>150.6768701358053</c:v>
                </c:pt>
                <c:pt idx="43">
                  <c:v>147.17614141091883</c:v>
                </c:pt>
                <c:pt idx="44">
                  <c:v>143.6173608544245</c:v>
                </c:pt>
                <c:pt idx="45">
                  <c:v>140.01735403427577</c:v>
                </c:pt>
                <c:pt idx="46">
                  <c:v>136.33830574347058</c:v>
                </c:pt>
                <c:pt idx="47">
                  <c:v>132.66224012589171</c:v>
                </c:pt>
                <c:pt idx="48">
                  <c:v>129.02001652326473</c:v>
                </c:pt>
                <c:pt idx="49">
                  <c:v>125.34854663630219</c:v>
                </c:pt>
                <c:pt idx="50">
                  <c:v>121.70863565565664</c:v>
                </c:pt>
                <c:pt idx="51">
                  <c:v>118.1143734326057</c:v>
                </c:pt>
                <c:pt idx="52">
                  <c:v>114.56195452815446</c:v>
                </c:pt>
                <c:pt idx="53">
                  <c:v>111.06614628049535</c:v>
                </c:pt>
                <c:pt idx="54">
                  <c:v>107.61626053606136</c:v>
                </c:pt>
                <c:pt idx="55">
                  <c:v>104.22296242157796</c:v>
                </c:pt>
                <c:pt idx="56">
                  <c:v>100.88432771218993</c:v>
                </c:pt>
                <c:pt idx="57">
                  <c:v>97.614627529657028</c:v>
                </c:pt>
                <c:pt idx="58">
                  <c:v>94.41289573562841</c:v>
                </c:pt>
                <c:pt idx="59">
                  <c:v>91.274439986089774</c:v>
                </c:pt>
                <c:pt idx="60">
                  <c:v>88.189406485924792</c:v>
                </c:pt>
                <c:pt idx="61">
                  <c:v>85.164178096821615</c:v>
                </c:pt>
                <c:pt idx="62">
                  <c:v>82.192911792630596</c:v>
                </c:pt>
                <c:pt idx="63">
                  <c:v>79.275316819483066</c:v>
                </c:pt>
                <c:pt idx="64">
                  <c:v>76.429666958397661</c:v>
                </c:pt>
                <c:pt idx="65">
                  <c:v>73.624216521405003</c:v>
                </c:pt>
                <c:pt idx="66">
                  <c:v>70.890561807489448</c:v>
                </c:pt>
                <c:pt idx="67">
                  <c:v>68.234376934734215</c:v>
                </c:pt>
                <c:pt idx="68">
                  <c:v>65.624339150765465</c:v>
                </c:pt>
                <c:pt idx="69">
                  <c:v>63.082509837361755</c:v>
                </c:pt>
                <c:pt idx="70">
                  <c:v>60.611044819719609</c:v>
                </c:pt>
                <c:pt idx="71">
                  <c:v>58.214006564095143</c:v>
                </c:pt>
                <c:pt idx="72">
                  <c:v>55.901093401628337</c:v>
                </c:pt>
                <c:pt idx="73">
                  <c:v>53.677292218343041</c:v>
                </c:pt>
                <c:pt idx="74">
                  <c:v>51.546259021593819</c:v>
                </c:pt>
                <c:pt idx="75">
                  <c:v>49.509894337176561</c:v>
                </c:pt>
                <c:pt idx="76">
                  <c:v>47.568658180134477</c:v>
                </c:pt>
                <c:pt idx="77">
                  <c:v>45.722691891754494</c:v>
                </c:pt>
                <c:pt idx="78">
                  <c:v>43.971302549031535</c:v>
                </c:pt>
                <c:pt idx="79">
                  <c:v>42.312376345349399</c:v>
                </c:pt>
                <c:pt idx="80">
                  <c:v>40.743461505204891</c:v>
                </c:pt>
                <c:pt idx="81">
                  <c:v>39.261541352816124</c:v>
                </c:pt>
                <c:pt idx="82">
                  <c:v>37.862858638477604</c:v>
                </c:pt>
                <c:pt idx="83">
                  <c:v>36.541501555556586</c:v>
                </c:pt>
                <c:pt idx="84">
                  <c:v>35.289631760029344</c:v>
                </c:pt>
                <c:pt idx="85">
                  <c:v>34.098254012138888</c:v>
                </c:pt>
                <c:pt idx="86">
                  <c:v>32.957822965821897</c:v>
                </c:pt>
                <c:pt idx="87">
                  <c:v>31.859842730707417</c:v>
                </c:pt>
                <c:pt idx="88">
                  <c:v>30.797170221529306</c:v>
                </c:pt>
                <c:pt idx="89">
                  <c:v>29.763068297428905</c:v>
                </c:pt>
                <c:pt idx="90">
                  <c:v>28.752170753338888</c:v>
                </c:pt>
                <c:pt idx="91">
                  <c:v>27.760163354659497</c:v>
                </c:pt>
                <c:pt idx="92">
                  <c:v>26.784530598581171</c:v>
                </c:pt>
                <c:pt idx="93">
                  <c:v>25.824761002241583</c:v>
                </c:pt>
                <c:pt idx="94">
                  <c:v>24.881962961573233</c:v>
                </c:pt>
                <c:pt idx="95">
                  <c:v>23.958382626991462</c:v>
                </c:pt>
                <c:pt idx="96">
                  <c:v>23.056372710723345</c:v>
                </c:pt>
                <c:pt idx="97">
                  <c:v>22.178457952005211</c:v>
                </c:pt>
                <c:pt idx="98">
                  <c:v>21.327069514168159</c:v>
                </c:pt>
                <c:pt idx="99">
                  <c:v>20.504441937186556</c:v>
                </c:pt>
                <c:pt idx="100">
                  <c:v>19.712504623178354</c:v>
                </c:pt>
                <c:pt idx="101">
                  <c:v>18.952634885809495</c:v>
                </c:pt>
                <c:pt idx="102">
                  <c:v>18.225841334963185</c:v>
                </c:pt>
                <c:pt idx="103">
                  <c:v>17.532563087683215</c:v>
                </c:pt>
                <c:pt idx="104">
                  <c:v>16.872883683097008</c:v>
                </c:pt>
                <c:pt idx="105">
                  <c:v>16.246590517794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34.28754207317729</c:v>
                </c:pt>
                <c:pt idx="11">
                  <c:v>138.92739763188584</c:v>
                </c:pt>
                <c:pt idx="12">
                  <c:v>143.66870670704924</c:v>
                </c:pt>
                <c:pt idx="13">
                  <c:v>149.34760249019917</c:v>
                </c:pt>
                <c:pt idx="14">
                  <c:v>155.14537213180577</c:v>
                </c:pt>
                <c:pt idx="15">
                  <c:v>160.68258464362043</c:v>
                </c:pt>
                <c:pt idx="16">
                  <c:v>166.40076707827461</c:v>
                </c:pt>
                <c:pt idx="17">
                  <c:v>172.25390592088766</c:v>
                </c:pt>
                <c:pt idx="18">
                  <c:v>177.58118777564707</c:v>
                </c:pt>
                <c:pt idx="19">
                  <c:v>182.61896089384268</c:v>
                </c:pt>
                <c:pt idx="20">
                  <c:v>187.51885695081242</c:v>
                </c:pt>
                <c:pt idx="21">
                  <c:v>191.84933484666124</c:v>
                </c:pt>
                <c:pt idx="22">
                  <c:v>195.69028340324491</c:v>
                </c:pt>
                <c:pt idx="23">
                  <c:v>199.44980317102443</c:v>
                </c:pt>
                <c:pt idx="24">
                  <c:v>202.605663685964</c:v>
                </c:pt>
                <c:pt idx="25">
                  <c:v>204.97526409836121</c:v>
                </c:pt>
                <c:pt idx="26">
                  <c:v>207.15541511568847</c:v>
                </c:pt>
                <c:pt idx="27">
                  <c:v>209.0641693387675</c:v>
                </c:pt>
                <c:pt idx="28">
                  <c:v>210.34580020736465</c:v>
                </c:pt>
                <c:pt idx="29">
                  <c:v>211.04226219266272</c:v>
                </c:pt>
                <c:pt idx="30">
                  <c:v>211.61311410122184</c:v>
                </c:pt>
                <c:pt idx="31">
                  <c:v>211.74214484578246</c:v>
                </c:pt>
                <c:pt idx="32">
                  <c:v>211.32146573833745</c:v>
                </c:pt>
                <c:pt idx="33">
                  <c:v>210.7290776521871</c:v>
                </c:pt>
                <c:pt idx="34">
                  <c:v>209.77854340781926</c:v>
                </c:pt>
                <c:pt idx="35">
                  <c:v>208.55717167282819</c:v>
                </c:pt>
                <c:pt idx="36">
                  <c:v>207.0711788794741</c:v>
                </c:pt>
                <c:pt idx="37">
                  <c:v>205.36185730083542</c:v>
                </c:pt>
                <c:pt idx="38">
                  <c:v>203.48677289383096</c:v>
                </c:pt>
                <c:pt idx="39">
                  <c:v>201.34730109323235</c:v>
                </c:pt>
                <c:pt idx="40">
                  <c:v>199.10861356396984</c:v>
                </c:pt>
                <c:pt idx="41">
                  <c:v>196.72594978816613</c:v>
                </c:pt>
                <c:pt idx="42">
                  <c:v>194.18694728614079</c:v>
                </c:pt>
                <c:pt idx="43">
                  <c:v>191.55042364589139</c:v>
                </c:pt>
                <c:pt idx="44">
                  <c:v>188.82828518094163</c:v>
                </c:pt>
                <c:pt idx="45">
                  <c:v>186.03258680849524</c:v>
                </c:pt>
                <c:pt idx="46">
                  <c:v>183.12527338810258</c:v>
                </c:pt>
                <c:pt idx="47">
                  <c:v>180.18548515990335</c:v>
                </c:pt>
                <c:pt idx="48">
                  <c:v>177.24195204618749</c:v>
                </c:pt>
                <c:pt idx="49">
                  <c:v>174.22266565560219</c:v>
                </c:pt>
                <c:pt idx="50">
                  <c:v>171.18858143674035</c:v>
                </c:pt>
                <c:pt idx="51">
                  <c:v>168.15367024460843</c:v>
                </c:pt>
                <c:pt idx="52">
                  <c:v>165.10726830243186</c:v>
                </c:pt>
                <c:pt idx="53">
                  <c:v>162.06371035236225</c:v>
                </c:pt>
                <c:pt idx="54">
                  <c:v>159.01180045621166</c:v>
                </c:pt>
                <c:pt idx="55">
                  <c:v>155.96789806897638</c:v>
                </c:pt>
                <c:pt idx="56">
                  <c:v>152.92862107760885</c:v>
                </c:pt>
                <c:pt idx="57">
                  <c:v>149.91539492163591</c:v>
                </c:pt>
                <c:pt idx="58">
                  <c:v>146.9303314892297</c:v>
                </c:pt>
                <c:pt idx="59">
                  <c:v>143.97055975279247</c:v>
                </c:pt>
                <c:pt idx="60">
                  <c:v>141.0308929476131</c:v>
                </c:pt>
                <c:pt idx="61">
                  <c:v>138.1244937074772</c:v>
                </c:pt>
                <c:pt idx="62">
                  <c:v>135.24444546706937</c:v>
                </c:pt>
                <c:pt idx="63">
                  <c:v>132.3919394713852</c:v>
                </c:pt>
                <c:pt idx="64">
                  <c:v>129.58767916452658</c:v>
                </c:pt>
                <c:pt idx="65">
                  <c:v>126.80031154798864</c:v>
                </c:pt>
                <c:pt idx="66">
                  <c:v>124.06171650708954</c:v>
                </c:pt>
                <c:pt idx="67">
                  <c:v>121.37904326362217</c:v>
                </c:pt>
                <c:pt idx="68">
                  <c:v>118.71708593829553</c:v>
                </c:pt>
                <c:pt idx="69">
                  <c:v>116.09741697091098</c:v>
                </c:pt>
                <c:pt idx="70">
                  <c:v>113.52411813005624</c:v>
                </c:pt>
                <c:pt idx="71">
                  <c:v>110.98865255143042</c:v>
                </c:pt>
                <c:pt idx="72">
                  <c:v>108.49441949131102</c:v>
                </c:pt>
                <c:pt idx="73">
                  <c:v>106.04222326035742</c:v>
                </c:pt>
                <c:pt idx="74">
                  <c:v>103.63217210946843</c:v>
                </c:pt>
                <c:pt idx="75">
                  <c:v>101.26411533427685</c:v>
                </c:pt>
                <c:pt idx="76">
                  <c:v>98.938222217465182</c:v>
                </c:pt>
                <c:pt idx="77">
                  <c:v>96.65450828791802</c:v>
                </c:pt>
                <c:pt idx="78">
                  <c:v>94.412761880638172</c:v>
                </c:pt>
                <c:pt idx="79">
                  <c:v>92.212824742455865</c:v>
                </c:pt>
                <c:pt idx="80">
                  <c:v>90.054593382766001</c:v>
                </c:pt>
                <c:pt idx="81">
                  <c:v>87.937895921293716</c:v>
                </c:pt>
                <c:pt idx="82">
                  <c:v>85.86239387950188</c:v>
                </c:pt>
                <c:pt idx="83">
                  <c:v>83.827756160093926</c:v>
                </c:pt>
                <c:pt idx="84">
                  <c:v>81.833691504334013</c:v>
                </c:pt>
                <c:pt idx="85">
                  <c:v>79.879796447441592</c:v>
                </c:pt>
                <c:pt idx="86">
                  <c:v>77.96566597545106</c:v>
                </c:pt>
                <c:pt idx="87">
                  <c:v>76.090917618922333</c:v>
                </c:pt>
                <c:pt idx="88">
                  <c:v>74.255099295608304</c:v>
                </c:pt>
                <c:pt idx="89">
                  <c:v>72.457725612895956</c:v>
                </c:pt>
                <c:pt idx="90">
                  <c:v>70.69832206493507</c:v>
                </c:pt>
                <c:pt idx="91">
                  <c:v>68.976396172970666</c:v>
                </c:pt>
                <c:pt idx="92">
                  <c:v>67.291419843176172</c:v>
                </c:pt>
                <c:pt idx="93">
                  <c:v>65.64288399564046</c:v>
                </c:pt>
                <c:pt idx="94">
                  <c:v>64.030258877484655</c:v>
                </c:pt>
                <c:pt idx="95">
                  <c:v>62.452993585676978</c:v>
                </c:pt>
                <c:pt idx="96">
                  <c:v>60.91055629677917</c:v>
                </c:pt>
                <c:pt idx="97">
                  <c:v>59.402395417606741</c:v>
                </c:pt>
                <c:pt idx="98">
                  <c:v>57.927939289094184</c:v>
                </c:pt>
                <c:pt idx="99">
                  <c:v>56.486632482270835</c:v>
                </c:pt>
                <c:pt idx="100">
                  <c:v>55.077918404208894</c:v>
                </c:pt>
                <c:pt idx="101">
                  <c:v>53.701231202055098</c:v>
                </c:pt>
                <c:pt idx="102">
                  <c:v>52.356007892332045</c:v>
                </c:pt>
                <c:pt idx="103">
                  <c:v>51.041685540317268</c:v>
                </c:pt>
                <c:pt idx="104">
                  <c:v>49.757702261386413</c:v>
                </c:pt>
                <c:pt idx="105">
                  <c:v>48.503497937047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2:$H$127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2:$I$127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2:$B$127</c:f>
              <c:numCache>
                <c:formatCode>0</c:formatCode>
                <c:ptCount val="126"/>
                <c:pt idx="0">
                  <c:v>444.86069930255508</c:v>
                </c:pt>
                <c:pt idx="1">
                  <c:v>444.42151990272265</c:v>
                </c:pt>
                <c:pt idx="2">
                  <c:v>455.28887398793677</c:v>
                </c:pt>
                <c:pt idx="3">
                  <c:v>456.20460975780003</c:v>
                </c:pt>
                <c:pt idx="4">
                  <c:v>461.53082801108638</c:v>
                </c:pt>
                <c:pt idx="5">
                  <c:v>468.67917356154965</c:v>
                </c:pt>
                <c:pt idx="6">
                  <c:v>467.53917597049536</c:v>
                </c:pt>
                <c:pt idx="7">
                  <c:v>472.77195179828544</c:v>
                </c:pt>
                <c:pt idx="8">
                  <c:v>483.36832284956046</c:v>
                </c:pt>
                <c:pt idx="9">
                  <c:v>482.16291556065875</c:v>
                </c:pt>
                <c:pt idx="10">
                  <c:v>490.66617628081764</c:v>
                </c:pt>
                <c:pt idx="11">
                  <c:v>492.60043448859005</c:v>
                </c:pt>
                <c:pt idx="12">
                  <c:v>495.59993634701976</c:v>
                </c:pt>
                <c:pt idx="13">
                  <c:v>499.60861640080896</c:v>
                </c:pt>
                <c:pt idx="14">
                  <c:v>510.14892199678616</c:v>
                </c:pt>
                <c:pt idx="15">
                  <c:v>531.8742859246646</c:v>
                </c:pt>
                <c:pt idx="16">
                  <c:v>544.96556973668953</c:v>
                </c:pt>
                <c:pt idx="17">
                  <c:v>570.06420522498274</c:v>
                </c:pt>
                <c:pt idx="18">
                  <c:v>593.03235341196148</c:v>
                </c:pt>
                <c:pt idx="19">
                  <c:v>608.30084573804891</c:v>
                </c:pt>
                <c:pt idx="20">
                  <c:v>619.40180588700366</c:v>
                </c:pt>
                <c:pt idx="21">
                  <c:v>642.80913347381465</c:v>
                </c:pt>
                <c:pt idx="22">
                  <c:v>673.0097253942032</c:v>
                </c:pt>
                <c:pt idx="23">
                  <c:v>699.70622635848235</c:v>
                </c:pt>
                <c:pt idx="24">
                  <c:v>726.65502187160132</c:v>
                </c:pt>
                <c:pt idx="25">
                  <c:v>759.23839564214427</c:v>
                </c:pt>
                <c:pt idx="26">
                  <c:v>769.04050607670115</c:v>
                </c:pt>
                <c:pt idx="27">
                  <c:v>773.89016795995656</c:v>
                </c:pt>
                <c:pt idx="28">
                  <c:v>782.44014989286359</c:v>
                </c:pt>
                <c:pt idx="29">
                  <c:v>791.21439364696153</c:v>
                </c:pt>
                <c:pt idx="30">
                  <c:v>804.68879140352112</c:v>
                </c:pt>
                <c:pt idx="31">
                  <c:v>805.25879019904824</c:v>
                </c:pt>
                <c:pt idx="32">
                  <c:v>790.25193666435018</c:v>
                </c:pt>
                <c:pt idx="33">
                  <c:v>802.45551743416058</c:v>
                </c:pt>
                <c:pt idx="34">
                  <c:v>796.81159493418704</c:v>
                </c:pt>
                <c:pt idx="35">
                  <c:v>781.18802139121385</c:v>
                </c:pt>
                <c:pt idx="36">
                  <c:v>767.91919697074604</c:v>
                </c:pt>
                <c:pt idx="37">
                  <c:v>761.35953870090918</c:v>
                </c:pt>
                <c:pt idx="38">
                  <c:v>729.55173706198514</c:v>
                </c:pt>
                <c:pt idx="39">
                  <c:v>746.29661971091343</c:v>
                </c:pt>
                <c:pt idx="40">
                  <c:v>725.98223640802837</c:v>
                </c:pt>
                <c:pt idx="41">
                  <c:v>719.89913450822235</c:v>
                </c:pt>
                <c:pt idx="42">
                  <c:v>719.68421692958088</c:v>
                </c:pt>
                <c:pt idx="43">
                  <c:v>707.24703009602979</c:v>
                </c:pt>
                <c:pt idx="44">
                  <c:v>683.81166978156989</c:v>
                </c:pt>
                <c:pt idx="45">
                  <c:v>678.34528789003923</c:v>
                </c:pt>
                <c:pt idx="46">
                  <c:v>629.27867026195747</c:v>
                </c:pt>
                <c:pt idx="47">
                  <c:v>615.35574886301595</c:v>
                </c:pt>
                <c:pt idx="48">
                  <c:v>606.56281662381866</c:v>
                </c:pt>
                <c:pt idx="49">
                  <c:v>584.23007693021441</c:v>
                </c:pt>
                <c:pt idx="50">
                  <c:v>555.63669472836148</c:v>
                </c:pt>
                <c:pt idx="51">
                  <c:v>525.92200342055344</c:v>
                </c:pt>
                <c:pt idx="52">
                  <c:v>500.37484428987824</c:v>
                </c:pt>
                <c:pt idx="53">
                  <c:v>481.70504767572714</c:v>
                </c:pt>
                <c:pt idx="54">
                  <c:v>467.71671657893825</c:v>
                </c:pt>
                <c:pt idx="55">
                  <c:v>461.67099164933074</c:v>
                </c:pt>
                <c:pt idx="56">
                  <c:v>449.47675512206996</c:v>
                </c:pt>
                <c:pt idx="57">
                  <c:v>427.62991604104627</c:v>
                </c:pt>
                <c:pt idx="58">
                  <c:v>412.80994735734077</c:v>
                </c:pt>
                <c:pt idx="59">
                  <c:v>397.10227563142087</c:v>
                </c:pt>
                <c:pt idx="60">
                  <c:v>360.89333575162334</c:v>
                </c:pt>
                <c:pt idx="61">
                  <c:v>343.98960097935139</c:v>
                </c:pt>
                <c:pt idx="62">
                  <c:v>345.6809088808335</c:v>
                </c:pt>
                <c:pt idx="63">
                  <c:v>294.13806697710106</c:v>
                </c:pt>
                <c:pt idx="64">
                  <c:v>265.65681568584358</c:v>
                </c:pt>
                <c:pt idx="65">
                  <c:v>263.69452475042226</c:v>
                </c:pt>
                <c:pt idx="66">
                  <c:v>254.69601917513327</c:v>
                </c:pt>
                <c:pt idx="67">
                  <c:v>263.86272111631553</c:v>
                </c:pt>
                <c:pt idx="68">
                  <c:v>264.27386778849905</c:v>
                </c:pt>
                <c:pt idx="69">
                  <c:v>255.49027979185138</c:v>
                </c:pt>
                <c:pt idx="70">
                  <c:v>278.3743297958834</c:v>
                </c:pt>
                <c:pt idx="71">
                  <c:v>273.45925821478056</c:v>
                </c:pt>
                <c:pt idx="72">
                  <c:v>242.27752082668138</c:v>
                </c:pt>
                <c:pt idx="73">
                  <c:v>223.41149511898817</c:v>
                </c:pt>
                <c:pt idx="74">
                  <c:v>208.43267431193902</c:v>
                </c:pt>
                <c:pt idx="75">
                  <c:v>202.23744150153755</c:v>
                </c:pt>
                <c:pt idx="76">
                  <c:v>200.81711663399452</c:v>
                </c:pt>
                <c:pt idx="77">
                  <c:v>195.89270081034209</c:v>
                </c:pt>
                <c:pt idx="78">
                  <c:v>184.29649580625724</c:v>
                </c:pt>
                <c:pt idx="79">
                  <c:v>177.1574944983436</c:v>
                </c:pt>
                <c:pt idx="80">
                  <c:v>171.2239004793316</c:v>
                </c:pt>
                <c:pt idx="81">
                  <c:v>165.48653555386176</c:v>
                </c:pt>
                <c:pt idx="82">
                  <c:v>163.29998279724947</c:v>
                </c:pt>
                <c:pt idx="83">
                  <c:v>163.22522885685245</c:v>
                </c:pt>
                <c:pt idx="84">
                  <c:v>156.1049160340381</c:v>
                </c:pt>
                <c:pt idx="85">
                  <c:v>150.71328808290437</c:v>
                </c:pt>
                <c:pt idx="86">
                  <c:v>146.37755953987829</c:v>
                </c:pt>
                <c:pt idx="87">
                  <c:v>142.6398625200282</c:v>
                </c:pt>
                <c:pt idx="88">
                  <c:v>138.5844612534909</c:v>
                </c:pt>
                <c:pt idx="89">
                  <c:v>137.31364426674187</c:v>
                </c:pt>
                <c:pt idx="90">
                  <c:v>134.35151937851069</c:v>
                </c:pt>
                <c:pt idx="91">
                  <c:v>130.96890357554639</c:v>
                </c:pt>
                <c:pt idx="92">
                  <c:v>123.28793619975448</c:v>
                </c:pt>
                <c:pt idx="93">
                  <c:v>117.54122703173502</c:v>
                </c:pt>
                <c:pt idx="94">
                  <c:v>111.41140391918088</c:v>
                </c:pt>
                <c:pt idx="95">
                  <c:v>106.46829961042918</c:v>
                </c:pt>
                <c:pt idx="96">
                  <c:v>102.29142319074674</c:v>
                </c:pt>
                <c:pt idx="97">
                  <c:v>101.13273711459321</c:v>
                </c:pt>
                <c:pt idx="98">
                  <c:v>94.853406121245101</c:v>
                </c:pt>
                <c:pt idx="99">
                  <c:v>88.078830272766851</c:v>
                </c:pt>
                <c:pt idx="100">
                  <c:v>82.416219287693991</c:v>
                </c:pt>
                <c:pt idx="101">
                  <c:v>79.164422880424439</c:v>
                </c:pt>
                <c:pt idx="102">
                  <c:v>73.70738523144334</c:v>
                </c:pt>
                <c:pt idx="103">
                  <c:v>72.530010670190563</c:v>
                </c:pt>
                <c:pt idx="104">
                  <c:v>71.343291866388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2:$C$127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2:$D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4.57331101018667</c:v>
                </c:pt>
                <c:pt idx="86" formatCode="0">
                  <c:v>158.00935132039771</c:v>
                </c:pt>
                <c:pt idx="87" formatCode="0">
                  <c:v>151.39183951192749</c:v>
                </c:pt>
                <c:pt idx="88" formatCode="0">
                  <c:v>144.82787982213856</c:v>
                </c:pt>
                <c:pt idx="89" formatCode="0">
                  <c:v>138.24096922434333</c:v>
                </c:pt>
                <c:pt idx="90" formatCode="0">
                  <c:v>131.58520590252934</c:v>
                </c:pt>
                <c:pt idx="91" formatCode="0">
                  <c:v>124.82998864602156</c:v>
                </c:pt>
                <c:pt idx="92" formatCode="0">
                  <c:v>118.75564832703272</c:v>
                </c:pt>
                <c:pt idx="93" formatCode="0">
                  <c:v>113.10972495749394</c:v>
                </c:pt>
                <c:pt idx="94" formatCode="0">
                  <c:v>107.73921248403025</c:v>
                </c:pt>
                <c:pt idx="95" formatCode="0">
                  <c:v>102.52170606394159</c:v>
                </c:pt>
                <c:pt idx="96" formatCode="0">
                  <c:v>97.487806907902993</c:v>
                </c:pt>
                <c:pt idx="97" formatCode="0">
                  <c:v>92.69106713459567</c:v>
                </c:pt>
                <c:pt idx="98" formatCode="0">
                  <c:v>88.162087954694641</c:v>
                </c:pt>
                <c:pt idx="99" formatCode="0">
                  <c:v>83.946771184212452</c:v>
                </c:pt>
                <c:pt idx="100" formatCode="0">
                  <c:v>79.945662888455331</c:v>
                </c:pt>
                <c:pt idx="101" formatCode="0">
                  <c:v>76.10521094874197</c:v>
                </c:pt>
                <c:pt idx="102" formatCode="0">
                  <c:v>72.425415365072411</c:v>
                </c:pt>
                <c:pt idx="103" formatCode="0">
                  <c:v>68.944527650790377</c:v>
                </c:pt>
                <c:pt idx="104" formatCode="0">
                  <c:v>65.662547805895883</c:v>
                </c:pt>
                <c:pt idx="105" formatCode="0">
                  <c:v>62.556524922382692</c:v>
                </c:pt>
                <c:pt idx="106" formatCode="0">
                  <c:v>59.603508092244539</c:v>
                </c:pt>
                <c:pt idx="107" formatCode="0">
                  <c:v>56.788196710143907</c:v>
                </c:pt>
                <c:pt idx="108" formatCode="0">
                  <c:v>54.110590776080812</c:v>
                </c:pt>
                <c:pt idx="109" formatCode="0">
                  <c:v>51.570690290055254</c:v>
                </c:pt>
                <c:pt idx="110" formatCode="0">
                  <c:v>49.16849525206721</c:v>
                </c:pt>
                <c:pt idx="111" formatCode="0">
                  <c:v>46.881054754110444</c:v>
                </c:pt>
                <c:pt idx="112" formatCode="0">
                  <c:v>44.716019098853714</c:v>
                </c:pt>
                <c:pt idx="113" formatCode="0">
                  <c:v>42.665737983628262</c:v>
                </c:pt>
                <c:pt idx="114" formatCode="0">
                  <c:v>40.707260500427822</c:v>
                </c:pt>
                <c:pt idx="115" formatCode="0">
                  <c:v>38.855887254589909</c:v>
                </c:pt>
                <c:pt idx="116" formatCode="0">
                  <c:v>37.096317640777023</c:v>
                </c:pt>
                <c:pt idx="117" formatCode="0">
                  <c:v>35.4209013563204</c:v>
                </c:pt>
                <c:pt idx="118" formatCode="0">
                  <c:v>33.837288703888788</c:v>
                </c:pt>
                <c:pt idx="119" formatCode="0">
                  <c:v>32.33017907814471</c:v>
                </c:pt>
                <c:pt idx="120" formatCode="0">
                  <c:v>30.891922176419389</c:v>
                </c:pt>
                <c:pt idx="121" formatCode="0">
                  <c:v>29.537818604050333</c:v>
                </c:pt>
                <c:pt idx="122" formatCode="0">
                  <c:v>28.244917453031299</c:v>
                </c:pt>
                <c:pt idx="123" formatCode="0">
                  <c:v>27.020869026031026</c:v>
                </c:pt>
                <c:pt idx="124" formatCode="0">
                  <c:v>25.858023020380763</c:v>
                </c:pt>
                <c:pt idx="125" formatCode="0">
                  <c:v>24.756379436080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2:$E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5.5831509624619</c:v>
                </c:pt>
                <c:pt idx="86" formatCode="0">
                  <c:v>160.57985301709829</c:v>
                </c:pt>
                <c:pt idx="87" formatCode="0">
                  <c:v>155.82136475713475</c:v>
                </c:pt>
                <c:pt idx="88" formatCode="0">
                  <c:v>151.26178436655871</c:v>
                </c:pt>
                <c:pt idx="89" formatCode="0">
                  <c:v>146.93171305604525</c:v>
                </c:pt>
                <c:pt idx="90" formatCode="0">
                  <c:v>142.8388011282631</c:v>
                </c:pt>
                <c:pt idx="91" formatCode="0">
                  <c:v>138.97539828054349</c:v>
                </c:pt>
                <c:pt idx="92" formatCode="0">
                  <c:v>135.12729603816135</c:v>
                </c:pt>
                <c:pt idx="93" formatCode="0">
                  <c:v>131.34804651979803</c:v>
                </c:pt>
                <c:pt idx="94" formatCode="0">
                  <c:v>127.6912018441347</c:v>
                </c:pt>
                <c:pt idx="95" formatCode="0">
                  <c:v>124.17971291917769</c:v>
                </c:pt>
                <c:pt idx="96" formatCode="0">
                  <c:v>120.78297853425192</c:v>
                </c:pt>
                <c:pt idx="97" formatCode="0">
                  <c:v>117.49334838668868</c:v>
                </c:pt>
                <c:pt idx="98" formatCode="0">
                  <c:v>114.28787156848173</c:v>
                </c:pt>
                <c:pt idx="99" formatCode="0">
                  <c:v>111.15124747429353</c:v>
                </c:pt>
                <c:pt idx="100" formatCode="0">
                  <c:v>108.10642701213034</c:v>
                </c:pt>
                <c:pt idx="101" formatCode="0">
                  <c:v>105.16106048466091</c:v>
                </c:pt>
                <c:pt idx="102" formatCode="0">
                  <c:v>102.3151478918853</c:v>
                </c:pt>
                <c:pt idx="103" formatCode="0">
                  <c:v>99.545738325797203</c:v>
                </c:pt>
                <c:pt idx="104" formatCode="0">
                  <c:v>96.845181483727828</c:v>
                </c:pt>
                <c:pt idx="105" formatCode="0">
                  <c:v>94.221127668345986</c:v>
                </c:pt>
                <c:pt idx="106" formatCode="0">
                  <c:v>91.681227182320427</c:v>
                </c:pt>
                <c:pt idx="107" formatCode="0">
                  <c:v>89.217829722982387</c:v>
                </c:pt>
                <c:pt idx="108" formatCode="0">
                  <c:v>86.830935290331865</c:v>
                </c:pt>
                <c:pt idx="109" formatCode="0">
                  <c:v>84.505243279031319</c:v>
                </c:pt>
                <c:pt idx="110" formatCode="0">
                  <c:v>82.25605429441832</c:v>
                </c:pt>
                <c:pt idx="111" formatCode="0">
                  <c:v>80.068067731155338</c:v>
                </c:pt>
                <c:pt idx="112" formatCode="0">
                  <c:v>77.941283589242374</c:v>
                </c:pt>
                <c:pt idx="113" formatCode="0">
                  <c:v>75.875701868679428</c:v>
                </c:pt>
                <c:pt idx="114" formatCode="0">
                  <c:v>73.871322569466471</c:v>
                </c:pt>
                <c:pt idx="115" formatCode="0">
                  <c:v>71.920495388934796</c:v>
                </c:pt>
                <c:pt idx="116" formatCode="0">
                  <c:v>70.03087062975311</c:v>
                </c:pt>
                <c:pt idx="117" formatCode="0">
                  <c:v>68.187147686583955</c:v>
                </c:pt>
                <c:pt idx="118" formatCode="0">
                  <c:v>66.404627164764804</c:v>
                </c:pt>
                <c:pt idx="119" formatCode="0">
                  <c:v>64.668008458958155</c:v>
                </c:pt>
                <c:pt idx="120" formatCode="0">
                  <c:v>62.984941871832781</c:v>
                </c:pt>
                <c:pt idx="121" formatCode="0">
                  <c:v>61.355427403388681</c:v>
                </c:pt>
                <c:pt idx="122" formatCode="0">
                  <c:v>59.771814750957077</c:v>
                </c:pt>
                <c:pt idx="123" formatCode="0">
                  <c:v>58.234103914537975</c:v>
                </c:pt>
                <c:pt idx="124" formatCode="0">
                  <c:v>56.74229489413139</c:v>
                </c:pt>
                <c:pt idx="125" formatCode="0">
                  <c:v>55.288737387068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2:$F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6.58534061206839</c:v>
                </c:pt>
                <c:pt idx="86" formatCode="0">
                  <c:v>163.14270441113013</c:v>
                </c:pt>
                <c:pt idx="87" formatCode="0">
                  <c:v>160.24323969967321</c:v>
                </c:pt>
                <c:pt idx="88" formatCode="0">
                  <c:v>157.68803860831014</c:v>
                </c:pt>
                <c:pt idx="89" formatCode="0">
                  <c:v>155.66070840109094</c:v>
                </c:pt>
                <c:pt idx="90" formatCode="0">
                  <c:v>154.25305271004063</c:v>
                </c:pt>
                <c:pt idx="91" formatCode="0">
                  <c:v>153.50332304850295</c:v>
                </c:pt>
                <c:pt idx="92" formatCode="0">
                  <c:v>152.21042189748391</c:v>
                </c:pt>
                <c:pt idx="93" formatCode="0">
                  <c:v>150.69566196907107</c:v>
                </c:pt>
                <c:pt idx="94" formatCode="0">
                  <c:v>149.21915355400202</c:v>
                </c:pt>
                <c:pt idx="95" formatCode="0">
                  <c:v>147.99510512700172</c:v>
                </c:pt>
                <c:pt idx="96" formatCode="0">
                  <c:v>146.91641245070775</c:v>
                </c:pt>
                <c:pt idx="97" formatCode="0">
                  <c:v>145.86832098508879</c:v>
                </c:pt>
                <c:pt idx="98" formatCode="0">
                  <c:v>144.74372649278226</c:v>
                </c:pt>
                <c:pt idx="99" formatCode="0">
                  <c:v>143.48907685510699</c:v>
                </c:pt>
                <c:pt idx="100" formatCode="0">
                  <c:v>142.26502842810672</c:v>
                </c:pt>
                <c:pt idx="101" formatCode="0">
                  <c:v>141.13278363313145</c:v>
                </c:pt>
                <c:pt idx="102" formatCode="0">
                  <c:v>140.07704186484369</c:v>
                </c:pt>
                <c:pt idx="103" formatCode="0">
                  <c:v>139.00599949121849</c:v>
                </c:pt>
                <c:pt idx="104" formatCode="0">
                  <c:v>137.90435590691825</c:v>
                </c:pt>
                <c:pt idx="105" formatCode="0">
                  <c:v>136.77976141461176</c:v>
                </c:pt>
                <c:pt idx="106" formatCode="0">
                  <c:v>135.66281722497399</c:v>
                </c:pt>
                <c:pt idx="107" formatCode="0">
                  <c:v>134.5994251540175</c:v>
                </c:pt>
                <c:pt idx="108" formatCode="0">
                  <c:v>133.56663429373603</c:v>
                </c:pt>
                <c:pt idx="109" formatCode="0">
                  <c:v>132.53384343345454</c:v>
                </c:pt>
                <c:pt idx="110" formatCode="0">
                  <c:v>131.48575196783557</c:v>
                </c:pt>
                <c:pt idx="111" formatCode="0">
                  <c:v>130.43766050221657</c:v>
                </c:pt>
                <c:pt idx="112" formatCode="0">
                  <c:v>129.41251994460384</c:v>
                </c:pt>
                <c:pt idx="113" formatCode="0">
                  <c:v>128.40267999232861</c:v>
                </c:pt>
                <c:pt idx="114" formatCode="0">
                  <c:v>127.40814064539092</c:v>
                </c:pt>
                <c:pt idx="115" formatCode="0">
                  <c:v>126.42125160112194</c:v>
                </c:pt>
                <c:pt idx="116" formatCode="0">
                  <c:v>125.43436255685297</c:v>
                </c:pt>
                <c:pt idx="117" formatCode="0">
                  <c:v>124.46277411792148</c:v>
                </c:pt>
                <c:pt idx="118" formatCode="0">
                  <c:v>123.49118567899004</c:v>
                </c:pt>
                <c:pt idx="119" formatCode="0">
                  <c:v>122.53489784539606</c:v>
                </c:pt>
                <c:pt idx="120" formatCode="0">
                  <c:v>121.5939106171396</c:v>
                </c:pt>
                <c:pt idx="121" formatCode="0">
                  <c:v>120.65292338888312</c:v>
                </c:pt>
                <c:pt idx="122" formatCode="0">
                  <c:v>119.71958646329543</c:v>
                </c:pt>
                <c:pt idx="123" formatCode="0">
                  <c:v>118.79389984037645</c:v>
                </c:pt>
                <c:pt idx="124" formatCode="0">
                  <c:v>117.87586352012627</c:v>
                </c:pt>
                <c:pt idx="125" formatCode="0">
                  <c:v>116.97312780521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G$2:$G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8.0924502378125</c:v>
                </c:pt>
                <c:pt idx="86" formatCode="0">
                  <c:v>166.99845695618097</c:v>
                </c:pt>
                <c:pt idx="87" formatCode="0">
                  <c:v>166.89135271881847</c:v>
                </c:pt>
                <c:pt idx="88" formatCode="0">
                  <c:v>167.34272057627481</c:v>
                </c:pt>
                <c:pt idx="89" formatCode="0">
                  <c:v>168.87278111002516</c:v>
                </c:pt>
                <c:pt idx="90" formatCode="0">
                  <c:v>171.74164461080701</c:v>
                </c:pt>
                <c:pt idx="91" formatCode="0">
                  <c:v>176.07936622398921</c:v>
                </c:pt>
                <c:pt idx="92" formatCode="0">
                  <c:v>179.2236406208462</c:v>
                </c:pt>
                <c:pt idx="93" formatCode="0">
                  <c:v>181.85534473889678</c:v>
                </c:pt>
                <c:pt idx="94" formatCode="0">
                  <c:v>184.58650279164115</c:v>
                </c:pt>
                <c:pt idx="95" formatCode="0">
                  <c:v>187.95263596589191</c:v>
                </c:pt>
                <c:pt idx="96" formatCode="0">
                  <c:v>191.70128427358023</c:v>
                </c:pt>
                <c:pt idx="97" formatCode="0">
                  <c:v>195.5570368186311</c:v>
                </c:pt>
                <c:pt idx="98" formatCode="0">
                  <c:v>199.25213300763812</c:v>
                </c:pt>
                <c:pt idx="99" formatCode="0">
                  <c:v>202.61826618188891</c:v>
                </c:pt>
                <c:pt idx="100" formatCode="0">
                  <c:v>206.10680419883968</c:v>
                </c:pt>
                <c:pt idx="101" formatCode="0">
                  <c:v>209.9013543225405</c:v>
                </c:pt>
                <c:pt idx="102" formatCode="0">
                  <c:v>213.95601473697891</c:v>
                </c:pt>
                <c:pt idx="103" formatCode="0">
                  <c:v>218.00302484874862</c:v>
                </c:pt>
                <c:pt idx="104" formatCode="0">
                  <c:v>221.97353193383074</c:v>
                </c:pt>
                <c:pt idx="105" formatCode="0">
                  <c:v>225.92873841357536</c:v>
                </c:pt>
                <c:pt idx="106" formatCode="0">
                  <c:v>229.96809822267628</c:v>
                </c:pt>
                <c:pt idx="107" formatCode="0">
                  <c:v>234.19871559849597</c:v>
                </c:pt>
                <c:pt idx="108" formatCode="0">
                  <c:v>238.56703842235322</c:v>
                </c:pt>
                <c:pt idx="109" formatCode="0">
                  <c:v>242.97361275955413</c:v>
                </c:pt>
                <c:pt idx="110" formatCode="0">
                  <c:v>247.38018709675515</c:v>
                </c:pt>
                <c:pt idx="111" formatCode="0">
                  <c:v>251.83266324996862</c:v>
                </c:pt>
                <c:pt idx="112" formatCode="0">
                  <c:v>256.39224364054468</c:v>
                </c:pt>
                <c:pt idx="113" formatCode="0">
                  <c:v>261.08187917648945</c:v>
                </c:pt>
                <c:pt idx="114" formatCode="0">
                  <c:v>265.87096864712805</c:v>
                </c:pt>
                <c:pt idx="115" formatCode="0">
                  <c:v>270.71361023644783</c:v>
                </c:pt>
                <c:pt idx="116" formatCode="0">
                  <c:v>275.60980394444886</c:v>
                </c:pt>
                <c:pt idx="117" formatCode="0">
                  <c:v>280.58250067913752</c:v>
                </c:pt>
                <c:pt idx="118" formatCode="0">
                  <c:v>285.66995195385738</c:v>
                </c:pt>
                <c:pt idx="119" formatCode="0">
                  <c:v>290.86450746593982</c:v>
                </c:pt>
                <c:pt idx="120" formatCode="0">
                  <c:v>296.15086661004727</c:v>
                </c:pt>
                <c:pt idx="121" formatCode="0">
                  <c:v>301.5137287808422</c:v>
                </c:pt>
                <c:pt idx="122" formatCode="0">
                  <c:v>306.96074428099337</c:v>
                </c:pt>
                <c:pt idx="123" formatCode="0">
                  <c:v>312.50721371583836</c:v>
                </c:pt>
                <c:pt idx="124" formatCode="0">
                  <c:v>318.16078738804595</c:v>
                </c:pt>
                <c:pt idx="125" formatCode="0">
                  <c:v>323.91381499494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8216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17</c:v>
                </c:pt>
                <c:pt idx="1">
                  <c:v>44218</c:v>
                </c:pt>
                <c:pt idx="2">
                  <c:v>44219</c:v>
                </c:pt>
                <c:pt idx="3">
                  <c:v>44220</c:v>
                </c:pt>
                <c:pt idx="4">
                  <c:v>44221</c:v>
                </c:pt>
                <c:pt idx="5">
                  <c:v>44222</c:v>
                </c:pt>
                <c:pt idx="6">
                  <c:v>44223</c:v>
                </c:pt>
                <c:pt idx="7">
                  <c:v>44224</c:v>
                </c:pt>
                <c:pt idx="8">
                  <c:v>44225</c:v>
                </c:pt>
                <c:pt idx="9">
                  <c:v>44226</c:v>
                </c:pt>
                <c:pt idx="10">
                  <c:v>44227</c:v>
                </c:pt>
                <c:pt idx="11">
                  <c:v>44228</c:v>
                </c:pt>
                <c:pt idx="12">
                  <c:v>44229</c:v>
                </c:pt>
                <c:pt idx="13">
                  <c:v>44230</c:v>
                </c:pt>
                <c:pt idx="14">
                  <c:v>44231</c:v>
                </c:pt>
                <c:pt idx="15">
                  <c:v>44232</c:v>
                </c:pt>
                <c:pt idx="16">
                  <c:v>44233</c:v>
                </c:pt>
                <c:pt idx="17">
                  <c:v>44234</c:v>
                </c:pt>
                <c:pt idx="18">
                  <c:v>44235</c:v>
                </c:pt>
                <c:pt idx="19">
                  <c:v>44236</c:v>
                </c:pt>
                <c:pt idx="20">
                  <c:v>44237</c:v>
                </c:pt>
                <c:pt idx="21">
                  <c:v>44238</c:v>
                </c:pt>
                <c:pt idx="22">
                  <c:v>44239</c:v>
                </c:pt>
                <c:pt idx="23">
                  <c:v>44240</c:v>
                </c:pt>
                <c:pt idx="24">
                  <c:v>44241</c:v>
                </c:pt>
                <c:pt idx="25">
                  <c:v>44242</c:v>
                </c:pt>
                <c:pt idx="26">
                  <c:v>44243</c:v>
                </c:pt>
                <c:pt idx="27">
                  <c:v>44244</c:v>
                </c:pt>
                <c:pt idx="28">
                  <c:v>44245</c:v>
                </c:pt>
                <c:pt idx="29">
                  <c:v>44246</c:v>
                </c:pt>
                <c:pt idx="30">
                  <c:v>44247</c:v>
                </c:pt>
                <c:pt idx="31">
                  <c:v>44248</c:v>
                </c:pt>
                <c:pt idx="32">
                  <c:v>44249</c:v>
                </c:pt>
                <c:pt idx="33">
                  <c:v>44250</c:v>
                </c:pt>
                <c:pt idx="34">
                  <c:v>44251</c:v>
                </c:pt>
                <c:pt idx="35">
                  <c:v>44252</c:v>
                </c:pt>
                <c:pt idx="36">
                  <c:v>44253</c:v>
                </c:pt>
                <c:pt idx="37">
                  <c:v>44254</c:v>
                </c:pt>
                <c:pt idx="38">
                  <c:v>44255</c:v>
                </c:pt>
                <c:pt idx="39">
                  <c:v>44256</c:v>
                </c:pt>
                <c:pt idx="40">
                  <c:v>44257</c:v>
                </c:pt>
                <c:pt idx="41">
                  <c:v>44258</c:v>
                </c:pt>
                <c:pt idx="42">
                  <c:v>44259</c:v>
                </c:pt>
                <c:pt idx="43">
                  <c:v>44260</c:v>
                </c:pt>
                <c:pt idx="44">
                  <c:v>44261</c:v>
                </c:pt>
                <c:pt idx="45">
                  <c:v>44262</c:v>
                </c:pt>
                <c:pt idx="46">
                  <c:v>44263</c:v>
                </c:pt>
                <c:pt idx="47">
                  <c:v>44264</c:v>
                </c:pt>
                <c:pt idx="48">
                  <c:v>44265</c:v>
                </c:pt>
                <c:pt idx="49">
                  <c:v>44266</c:v>
                </c:pt>
                <c:pt idx="50">
                  <c:v>44267</c:v>
                </c:pt>
                <c:pt idx="51">
                  <c:v>44268</c:v>
                </c:pt>
                <c:pt idx="52">
                  <c:v>44269</c:v>
                </c:pt>
                <c:pt idx="53">
                  <c:v>44270</c:v>
                </c:pt>
                <c:pt idx="54">
                  <c:v>44271</c:v>
                </c:pt>
                <c:pt idx="55">
                  <c:v>44272</c:v>
                </c:pt>
                <c:pt idx="56">
                  <c:v>44273</c:v>
                </c:pt>
                <c:pt idx="57">
                  <c:v>44274</c:v>
                </c:pt>
                <c:pt idx="58">
                  <c:v>44275</c:v>
                </c:pt>
                <c:pt idx="59">
                  <c:v>44276</c:v>
                </c:pt>
                <c:pt idx="60">
                  <c:v>44277</c:v>
                </c:pt>
                <c:pt idx="61">
                  <c:v>44278</c:v>
                </c:pt>
                <c:pt idx="62">
                  <c:v>44279</c:v>
                </c:pt>
                <c:pt idx="63">
                  <c:v>44280</c:v>
                </c:pt>
                <c:pt idx="64">
                  <c:v>44281</c:v>
                </c:pt>
                <c:pt idx="65">
                  <c:v>44282</c:v>
                </c:pt>
                <c:pt idx="66">
                  <c:v>44283</c:v>
                </c:pt>
                <c:pt idx="67">
                  <c:v>44284</c:v>
                </c:pt>
                <c:pt idx="68">
                  <c:v>44285</c:v>
                </c:pt>
                <c:pt idx="69">
                  <c:v>44286</c:v>
                </c:pt>
                <c:pt idx="70">
                  <c:v>44287</c:v>
                </c:pt>
                <c:pt idx="71">
                  <c:v>44288</c:v>
                </c:pt>
                <c:pt idx="72">
                  <c:v>44289</c:v>
                </c:pt>
                <c:pt idx="73">
                  <c:v>44290</c:v>
                </c:pt>
                <c:pt idx="74">
                  <c:v>44291</c:v>
                </c:pt>
                <c:pt idx="75">
                  <c:v>44292</c:v>
                </c:pt>
                <c:pt idx="76">
                  <c:v>44293</c:v>
                </c:pt>
                <c:pt idx="77">
                  <c:v>44294</c:v>
                </c:pt>
                <c:pt idx="78">
                  <c:v>44295</c:v>
                </c:pt>
                <c:pt idx="79">
                  <c:v>44296</c:v>
                </c:pt>
                <c:pt idx="80">
                  <c:v>44297</c:v>
                </c:pt>
                <c:pt idx="81">
                  <c:v>44298</c:v>
                </c:pt>
                <c:pt idx="82">
                  <c:v>44299</c:v>
                </c:pt>
                <c:pt idx="83">
                  <c:v>44300</c:v>
                </c:pt>
                <c:pt idx="84">
                  <c:v>44301</c:v>
                </c:pt>
                <c:pt idx="85">
                  <c:v>44302</c:v>
                </c:pt>
                <c:pt idx="86">
                  <c:v>44303</c:v>
                </c:pt>
                <c:pt idx="87">
                  <c:v>44304</c:v>
                </c:pt>
                <c:pt idx="88">
                  <c:v>44305</c:v>
                </c:pt>
                <c:pt idx="89">
                  <c:v>44306</c:v>
                </c:pt>
                <c:pt idx="90">
                  <c:v>44307</c:v>
                </c:pt>
                <c:pt idx="91">
                  <c:v>44308</c:v>
                </c:pt>
                <c:pt idx="92">
                  <c:v>44309</c:v>
                </c:pt>
                <c:pt idx="93">
                  <c:v>44310</c:v>
                </c:pt>
                <c:pt idx="94">
                  <c:v>44311</c:v>
                </c:pt>
                <c:pt idx="95">
                  <c:v>44312</c:v>
                </c:pt>
                <c:pt idx="96">
                  <c:v>44313</c:v>
                </c:pt>
                <c:pt idx="97">
                  <c:v>44314</c:v>
                </c:pt>
                <c:pt idx="98">
                  <c:v>44315</c:v>
                </c:pt>
                <c:pt idx="99">
                  <c:v>44316</c:v>
                </c:pt>
                <c:pt idx="100">
                  <c:v>44317</c:v>
                </c:pt>
                <c:pt idx="101">
                  <c:v>44318</c:v>
                </c:pt>
                <c:pt idx="102">
                  <c:v>44319</c:v>
                </c:pt>
                <c:pt idx="103">
                  <c:v>44320</c:v>
                </c:pt>
                <c:pt idx="104">
                  <c:v>44321</c:v>
                </c:pt>
                <c:pt idx="105">
                  <c:v>44322</c:v>
                </c:pt>
                <c:pt idx="106">
                  <c:v>44323</c:v>
                </c:pt>
                <c:pt idx="107">
                  <c:v>44324</c:v>
                </c:pt>
                <c:pt idx="108">
                  <c:v>44325</c:v>
                </c:pt>
                <c:pt idx="109">
                  <c:v>44326</c:v>
                </c:pt>
                <c:pt idx="110">
                  <c:v>44327</c:v>
                </c:pt>
                <c:pt idx="111">
                  <c:v>44328</c:v>
                </c:pt>
                <c:pt idx="112">
                  <c:v>44329</c:v>
                </c:pt>
                <c:pt idx="113">
                  <c:v>44330</c:v>
                </c:pt>
                <c:pt idx="114">
                  <c:v>44331</c:v>
                </c:pt>
                <c:pt idx="115">
                  <c:v>44332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7534</c:v>
                </c:pt>
                <c:pt idx="1">
                  <c:v>8468</c:v>
                </c:pt>
                <c:pt idx="2">
                  <c:v>4239</c:v>
                </c:pt>
                <c:pt idx="3">
                  <c:v>2394</c:v>
                </c:pt>
                <c:pt idx="4">
                  <c:v>6974</c:v>
                </c:pt>
                <c:pt idx="5">
                  <c:v>9196</c:v>
                </c:pt>
                <c:pt idx="6">
                  <c:v>8504</c:v>
                </c:pt>
                <c:pt idx="7">
                  <c:v>8010</c:v>
                </c:pt>
                <c:pt idx="8">
                  <c:v>8053</c:v>
                </c:pt>
                <c:pt idx="9">
                  <c:v>4055</c:v>
                </c:pt>
                <c:pt idx="10">
                  <c:v>2573</c:v>
                </c:pt>
                <c:pt idx="11">
                  <c:v>7217</c:v>
                </c:pt>
                <c:pt idx="12">
                  <c:v>9149</c:v>
                </c:pt>
                <c:pt idx="13">
                  <c:v>9667</c:v>
                </c:pt>
                <c:pt idx="14">
                  <c:v>8108</c:v>
                </c:pt>
                <c:pt idx="15">
                  <c:v>8623</c:v>
                </c:pt>
                <c:pt idx="16">
                  <c:v>4820</c:v>
                </c:pt>
                <c:pt idx="17">
                  <c:v>2451</c:v>
                </c:pt>
                <c:pt idx="18">
                  <c:v>7777</c:v>
                </c:pt>
                <c:pt idx="19">
                  <c:v>10283</c:v>
                </c:pt>
                <c:pt idx="20">
                  <c:v>9538</c:v>
                </c:pt>
                <c:pt idx="21">
                  <c:v>9018</c:v>
                </c:pt>
                <c:pt idx="22">
                  <c:v>8830</c:v>
                </c:pt>
                <c:pt idx="23">
                  <c:v>5141</c:v>
                </c:pt>
                <c:pt idx="24">
                  <c:v>2880</c:v>
                </c:pt>
                <c:pt idx="25">
                  <c:v>8905</c:v>
                </c:pt>
                <c:pt idx="26">
                  <c:v>12608</c:v>
                </c:pt>
                <c:pt idx="27">
                  <c:v>10939</c:v>
                </c:pt>
                <c:pt idx="28">
                  <c:v>11704</c:v>
                </c:pt>
                <c:pt idx="29">
                  <c:v>11288</c:v>
                </c:pt>
                <c:pt idx="30">
                  <c:v>6775</c:v>
                </c:pt>
                <c:pt idx="31">
                  <c:v>4068</c:v>
                </c:pt>
                <c:pt idx="32">
                  <c:v>11410</c:v>
                </c:pt>
                <c:pt idx="33">
                  <c:v>15840</c:v>
                </c:pt>
                <c:pt idx="34">
                  <c:v>13796</c:v>
                </c:pt>
                <c:pt idx="35">
                  <c:v>14588</c:v>
                </c:pt>
                <c:pt idx="36">
                  <c:v>14775</c:v>
                </c:pt>
                <c:pt idx="37">
                  <c:v>7824</c:v>
                </c:pt>
                <c:pt idx="38">
                  <c:v>4587</c:v>
                </c:pt>
                <c:pt idx="39">
                  <c:v>12325</c:v>
                </c:pt>
                <c:pt idx="40">
                  <c:v>16779</c:v>
                </c:pt>
                <c:pt idx="41">
                  <c:v>15238</c:v>
                </c:pt>
                <c:pt idx="42">
                  <c:v>14649</c:v>
                </c:pt>
                <c:pt idx="43">
                  <c:v>13169</c:v>
                </c:pt>
                <c:pt idx="44">
                  <c:v>9130</c:v>
                </c:pt>
                <c:pt idx="45">
                  <c:v>3983</c:v>
                </c:pt>
                <c:pt idx="46">
                  <c:v>10653</c:v>
                </c:pt>
                <c:pt idx="47">
                  <c:v>15359</c:v>
                </c:pt>
                <c:pt idx="48">
                  <c:v>14536</c:v>
                </c:pt>
                <c:pt idx="49">
                  <c:v>11245</c:v>
                </c:pt>
                <c:pt idx="50">
                  <c:v>14961</c:v>
                </c:pt>
                <c:pt idx="51">
                  <c:v>6956</c:v>
                </c:pt>
                <c:pt idx="52">
                  <c:v>3332</c:v>
                </c:pt>
                <c:pt idx="53">
                  <c:v>10630</c:v>
                </c:pt>
                <c:pt idx="54">
                  <c:v>14028</c:v>
                </c:pt>
                <c:pt idx="55">
                  <c:v>12028</c:v>
                </c:pt>
                <c:pt idx="56">
                  <c:v>10660</c:v>
                </c:pt>
                <c:pt idx="57">
                  <c:v>9710</c:v>
                </c:pt>
                <c:pt idx="58">
                  <c:v>5466</c:v>
                </c:pt>
                <c:pt idx="59">
                  <c:v>2391</c:v>
                </c:pt>
                <c:pt idx="60">
                  <c:v>8240</c:v>
                </c:pt>
                <c:pt idx="61">
                  <c:v>10968</c:v>
                </c:pt>
                <c:pt idx="62">
                  <c:v>8848</c:v>
                </c:pt>
                <c:pt idx="63">
                  <c:v>7926</c:v>
                </c:pt>
                <c:pt idx="64">
                  <c:v>7712</c:v>
                </c:pt>
                <c:pt idx="65">
                  <c:v>3969</c:v>
                </c:pt>
                <c:pt idx="66">
                  <c:v>1744</c:v>
                </c:pt>
                <c:pt idx="67">
                  <c:v>6935</c:v>
                </c:pt>
                <c:pt idx="68">
                  <c:v>8630</c:v>
                </c:pt>
                <c:pt idx="69">
                  <c:v>7262</c:v>
                </c:pt>
                <c:pt idx="70">
                  <c:v>6245</c:v>
                </c:pt>
                <c:pt idx="71">
                  <c:v>3837</c:v>
                </c:pt>
                <c:pt idx="72">
                  <c:v>2160</c:v>
                </c:pt>
                <c:pt idx="73">
                  <c:v>1925</c:v>
                </c:pt>
                <c:pt idx="74">
                  <c:v>1419</c:v>
                </c:pt>
                <c:pt idx="75">
                  <c:v>5582</c:v>
                </c:pt>
                <c:pt idx="76">
                  <c:v>7052</c:v>
                </c:pt>
                <c:pt idx="77">
                  <c:v>5282</c:v>
                </c:pt>
                <c:pt idx="78">
                  <c:v>4818</c:v>
                </c:pt>
                <c:pt idx="79">
                  <c:v>2204</c:v>
                </c:pt>
                <c:pt idx="80">
                  <c:v>985</c:v>
                </c:pt>
                <c:pt idx="81">
                  <c:v>3868</c:v>
                </c:pt>
                <c:pt idx="82">
                  <c:v>5056</c:v>
                </c:pt>
                <c:pt idx="83">
                  <c:v>3715</c:v>
                </c:pt>
                <c:pt idx="84">
                  <c:v>3263</c:v>
                </c:pt>
                <c:pt idx="85">
                  <c:v>3215</c:v>
                </c:pt>
                <c:pt idx="86">
                  <c:v>1541</c:v>
                </c:pt>
                <c:pt idx="87">
                  <c:v>833</c:v>
                </c:pt>
                <c:pt idx="88">
                  <c:v>3341</c:v>
                </c:pt>
                <c:pt idx="89">
                  <c:v>3815</c:v>
                </c:pt>
                <c:pt idx="90">
                  <c:v>2951</c:v>
                </c:pt>
                <c:pt idx="91">
                  <c:v>2628</c:v>
                </c:pt>
                <c:pt idx="92">
                  <c:v>2601</c:v>
                </c:pt>
                <c:pt idx="93">
                  <c:v>1307</c:v>
                </c:pt>
                <c:pt idx="94">
                  <c:v>825</c:v>
                </c:pt>
                <c:pt idx="95">
                  <c:v>2579</c:v>
                </c:pt>
                <c:pt idx="96">
                  <c:v>3238</c:v>
                </c:pt>
                <c:pt idx="97">
                  <c:v>2487</c:v>
                </c:pt>
                <c:pt idx="98">
                  <c:v>2228</c:v>
                </c:pt>
                <c:pt idx="99">
                  <c:v>2167</c:v>
                </c:pt>
                <c:pt idx="100">
                  <c:v>1171</c:v>
                </c:pt>
                <c:pt idx="101">
                  <c:v>508</c:v>
                </c:pt>
                <c:pt idx="102">
                  <c:v>2217</c:v>
                </c:pt>
                <c:pt idx="103">
                  <c:v>2416</c:v>
                </c:pt>
                <c:pt idx="104">
                  <c:v>1872</c:v>
                </c:pt>
                <c:pt idx="105">
                  <c:v>1572</c:v>
                </c:pt>
                <c:pt idx="106">
                  <c:v>1638</c:v>
                </c:pt>
                <c:pt idx="107">
                  <c:v>724</c:v>
                </c:pt>
                <c:pt idx="108">
                  <c:v>384</c:v>
                </c:pt>
                <c:pt idx="109">
                  <c:v>1545</c:v>
                </c:pt>
                <c:pt idx="110">
                  <c:v>1691</c:v>
                </c:pt>
                <c:pt idx="111">
                  <c:v>1266</c:v>
                </c:pt>
                <c:pt idx="112">
                  <c:v>1224</c:v>
                </c:pt>
                <c:pt idx="113">
                  <c:v>1054</c:v>
                </c:pt>
                <c:pt idx="114">
                  <c:v>598</c:v>
                </c:pt>
                <c:pt idx="115">
                  <c:v>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9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9</c:v>
                </c:pt>
                <c:pt idx="99">
                  <c:v>14536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40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2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2</c:v>
                </c:pt>
                <c:pt idx="156">
                  <c:v>1572</c:v>
                </c:pt>
                <c:pt idx="157">
                  <c:v>1638</c:v>
                </c:pt>
                <c:pt idx="158">
                  <c:v>724</c:v>
                </c:pt>
                <c:pt idx="159">
                  <c:v>384</c:v>
                </c:pt>
                <c:pt idx="160">
                  <c:v>1545</c:v>
                </c:pt>
                <c:pt idx="161">
                  <c:v>1691</c:v>
                </c:pt>
                <c:pt idx="162">
                  <c:v>1266</c:v>
                </c:pt>
                <c:pt idx="163">
                  <c:v>1224</c:v>
                </c:pt>
                <c:pt idx="164">
                  <c:v>1054</c:v>
                </c:pt>
                <c:pt idx="165">
                  <c:v>598</c:v>
                </c:pt>
                <c:pt idx="166">
                  <c:v>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9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9</c:v>
                </c:pt>
                <c:pt idx="99">
                  <c:v>14536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40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2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2</c:v>
                </c:pt>
                <c:pt idx="156">
                  <c:v>1572</c:v>
                </c:pt>
                <c:pt idx="157">
                  <c:v>1638</c:v>
                </c:pt>
                <c:pt idx="158">
                  <c:v>724</c:v>
                </c:pt>
                <c:pt idx="159">
                  <c:v>384</c:v>
                </c:pt>
                <c:pt idx="160">
                  <c:v>1545</c:v>
                </c:pt>
                <c:pt idx="161">
                  <c:v>1691</c:v>
                </c:pt>
                <c:pt idx="162">
                  <c:v>1266</c:v>
                </c:pt>
                <c:pt idx="163">
                  <c:v>1224</c:v>
                </c:pt>
                <c:pt idx="164">
                  <c:v>1054</c:v>
                </c:pt>
                <c:pt idx="165">
                  <c:v>598</c:v>
                </c:pt>
                <c:pt idx="166">
                  <c:v>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G$93:$G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7</c:v>
                </c:pt>
                <c:pt idx="1">
                  <c:v>6369</c:v>
                </c:pt>
                <c:pt idx="2">
                  <c:v>6221</c:v>
                </c:pt>
                <c:pt idx="3">
                  <c:v>6316</c:v>
                </c:pt>
                <c:pt idx="4">
                  <c:v>6384</c:v>
                </c:pt>
                <c:pt idx="5">
                  <c:v>7058</c:v>
                </c:pt>
                <c:pt idx="6">
                  <c:v>6702</c:v>
                </c:pt>
                <c:pt idx="7">
                  <c:v>6226</c:v>
                </c:pt>
                <c:pt idx="8">
                  <c:v>5911</c:v>
                </c:pt>
                <c:pt idx="9">
                  <c:v>5273</c:v>
                </c:pt>
                <c:pt idx="10">
                  <c:v>5227</c:v>
                </c:pt>
                <c:pt idx="11">
                  <c:v>5520</c:v>
                </c:pt>
                <c:pt idx="12">
                  <c:v>5213</c:v>
                </c:pt>
                <c:pt idx="13">
                  <c:v>4912</c:v>
                </c:pt>
                <c:pt idx="14">
                  <c:v>4652</c:v>
                </c:pt>
                <c:pt idx="15">
                  <c:v>4407</c:v>
                </c:pt>
                <c:pt idx="16">
                  <c:v>4011</c:v>
                </c:pt>
                <c:pt idx="17">
                  <c:v>4019</c:v>
                </c:pt>
                <c:pt idx="18">
                  <c:v>4291</c:v>
                </c:pt>
                <c:pt idx="19">
                  <c:v>4123</c:v>
                </c:pt>
                <c:pt idx="20">
                  <c:v>3962</c:v>
                </c:pt>
                <c:pt idx="21">
                  <c:v>3727</c:v>
                </c:pt>
                <c:pt idx="22">
                  <c:v>3513</c:v>
                </c:pt>
                <c:pt idx="23">
                  <c:v>3166</c:v>
                </c:pt>
                <c:pt idx="24">
                  <c:v>3164</c:v>
                </c:pt>
                <c:pt idx="25">
                  <c:v>3315</c:v>
                </c:pt>
                <c:pt idx="26">
                  <c:v>3148</c:v>
                </c:pt>
                <c:pt idx="27">
                  <c:v>3001</c:v>
                </c:pt>
                <c:pt idx="28">
                  <c:v>2836</c:v>
                </c:pt>
                <c:pt idx="29">
                  <c:v>2677</c:v>
                </c:pt>
                <c:pt idx="30">
                  <c:v>2474</c:v>
                </c:pt>
                <c:pt idx="31">
                  <c:v>2502</c:v>
                </c:pt>
                <c:pt idx="32">
                  <c:v>2693</c:v>
                </c:pt>
                <c:pt idx="33">
                  <c:v>2539</c:v>
                </c:pt>
                <c:pt idx="34">
                  <c:v>2361</c:v>
                </c:pt>
                <c:pt idx="35">
                  <c:v>2220</c:v>
                </c:pt>
                <c:pt idx="36">
                  <c:v>2122</c:v>
                </c:pt>
                <c:pt idx="37">
                  <c:v>1885</c:v>
                </c:pt>
                <c:pt idx="38">
                  <c:v>1865</c:v>
                </c:pt>
                <c:pt idx="39">
                  <c:v>1979</c:v>
                </c:pt>
                <c:pt idx="40">
                  <c:v>1829</c:v>
                </c:pt>
                <c:pt idx="41">
                  <c:v>1719</c:v>
                </c:pt>
                <c:pt idx="42">
                  <c:v>1598</c:v>
                </c:pt>
                <c:pt idx="43">
                  <c:v>1483</c:v>
                </c:pt>
                <c:pt idx="44">
                  <c:v>1337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CU$5</c:f>
              <c:numCache>
                <c:formatCode>General</c:formatCode>
                <c:ptCount val="98"/>
                <c:pt idx="26">
                  <c:v>3222.1707913463342</c:v>
                </c:pt>
                <c:pt idx="27">
                  <c:v>3125.4283100203825</c:v>
                </c:pt>
                <c:pt idx="28">
                  <c:v>3042.2437864108988</c:v>
                </c:pt>
                <c:pt idx="29">
                  <c:v>2969.5018581731201</c:v>
                </c:pt>
                <c:pt idx="30">
                  <c:v>2911.4812322676216</c:v>
                </c:pt>
                <c:pt idx="31">
                  <c:v>2871.339539474433</c:v>
                </c:pt>
                <c:pt idx="32">
                  <c:v>2847.0529841615871</c:v>
                </c:pt>
                <c:pt idx="33">
                  <c:v>2834.3556205041832</c:v>
                </c:pt>
                <c:pt idx="34">
                  <c:v>2830.4913742047092</c:v>
                </c:pt>
                <c:pt idx="35">
                  <c:v>2835.3010943498148</c:v>
                </c:pt>
                <c:pt idx="36">
                  <c:v>2848.5369957072317</c:v>
                </c:pt>
                <c:pt idx="37">
                  <c:v>2870.7619704671606</c:v>
                </c:pt>
                <c:pt idx="38">
                  <c:v>2902.0864150429261</c:v>
                </c:pt>
                <c:pt idx="39">
                  <c:v>2938.524473629835</c:v>
                </c:pt>
                <c:pt idx="40">
                  <c:v>2976.9625425199083</c:v>
                </c:pt>
                <c:pt idx="41">
                  <c:v>3017.7287040895981</c:v>
                </c:pt>
                <c:pt idx="42">
                  <c:v>3061.6042920729687</c:v>
                </c:pt>
                <c:pt idx="43">
                  <c:v>3108.9283917721891</c:v>
                </c:pt>
                <c:pt idx="44">
                  <c:v>3159.5629833051698</c:v>
                </c:pt>
                <c:pt idx="45">
                  <c:v>3212.9497331765406</c:v>
                </c:pt>
                <c:pt idx="46">
                  <c:v>3267.595491349075</c:v>
                </c:pt>
                <c:pt idx="47">
                  <c:v>3323.2689697751598</c:v>
                </c:pt>
                <c:pt idx="48">
                  <c:v>3380.4124917273193</c:v>
                </c:pt>
                <c:pt idx="49">
                  <c:v>3438.98718075327</c:v>
                </c:pt>
                <c:pt idx="50">
                  <c:v>3499.1108639020872</c:v>
                </c:pt>
                <c:pt idx="51">
                  <c:v>3560.7872154934976</c:v>
                </c:pt>
                <c:pt idx="52">
                  <c:v>3623.7314480485215</c:v>
                </c:pt>
                <c:pt idx="53">
                  <c:v>3687.7248521434472</c:v>
                </c:pt>
                <c:pt idx="54">
                  <c:v>3752.9974566562996</c:v>
                </c:pt>
                <c:pt idx="55">
                  <c:v>3819.6694574650669</c:v>
                </c:pt>
                <c:pt idx="56">
                  <c:v>3887.7374702383822</c:v>
                </c:pt>
                <c:pt idx="57">
                  <c:v>3957.0298273832095</c:v>
                </c:pt>
                <c:pt idx="58">
                  <c:v>4027.6014986188788</c:v>
                </c:pt>
                <c:pt idx="59">
                  <c:v>4099.7109481037551</c:v>
                </c:pt>
                <c:pt idx="60">
                  <c:v>4173.1916983224719</c:v>
                </c:pt>
                <c:pt idx="61">
                  <c:v>4247.8763792975351</c:v>
                </c:pt>
                <c:pt idx="62">
                  <c:v>4324.070392963491</c:v>
                </c:pt>
                <c:pt idx="63">
                  <c:v>4401.6512984859182</c:v>
                </c:pt>
                <c:pt idx="64">
                  <c:v>4480.6192150580655</c:v>
                </c:pt>
                <c:pt idx="65">
                  <c:v>4561.0931967921961</c:v>
                </c:pt>
                <c:pt idx="66">
                  <c:v>4642.990295051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8F8-4AB8-A8EE-CBCC174D4D3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5</c:v>
                </c:pt>
                <c:pt idx="1">
                  <c:v>1424</c:v>
                </c:pt>
                <c:pt idx="2">
                  <c:v>1401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2</c:v>
                </c:pt>
                <c:pt idx="7">
                  <c:v>1315</c:v>
                </c:pt>
                <c:pt idx="8">
                  <c:v>1238</c:v>
                </c:pt>
                <c:pt idx="9">
                  <c:v>1220</c:v>
                </c:pt>
                <c:pt idx="10">
                  <c:v>1202</c:v>
                </c:pt>
                <c:pt idx="11">
                  <c:v>1188</c:v>
                </c:pt>
                <c:pt idx="12">
                  <c:v>1159</c:v>
                </c:pt>
                <c:pt idx="13">
                  <c:v>1115</c:v>
                </c:pt>
                <c:pt idx="14">
                  <c:v>1037</c:v>
                </c:pt>
                <c:pt idx="15">
                  <c:v>1015</c:v>
                </c:pt>
                <c:pt idx="16">
                  <c:v>975</c:v>
                </c:pt>
                <c:pt idx="17">
                  <c:v>977</c:v>
                </c:pt>
                <c:pt idx="18">
                  <c:v>995</c:v>
                </c:pt>
                <c:pt idx="19">
                  <c:v>943</c:v>
                </c:pt>
                <c:pt idx="20">
                  <c:v>908</c:v>
                </c:pt>
                <c:pt idx="21">
                  <c:v>834</c:v>
                </c:pt>
                <c:pt idx="22">
                  <c:v>787</c:v>
                </c:pt>
                <c:pt idx="23">
                  <c:v>751</c:v>
                </c:pt>
                <c:pt idx="24">
                  <c:v>761</c:v>
                </c:pt>
                <c:pt idx="25">
                  <c:v>739</c:v>
                </c:pt>
                <c:pt idx="26">
                  <c:v>714</c:v>
                </c:pt>
                <c:pt idx="27">
                  <c:v>686</c:v>
                </c:pt>
                <c:pt idx="28">
                  <c:v>637</c:v>
                </c:pt>
                <c:pt idx="29">
                  <c:v>578</c:v>
                </c:pt>
                <c:pt idx="30">
                  <c:v>556</c:v>
                </c:pt>
                <c:pt idx="31">
                  <c:v>563</c:v>
                </c:pt>
                <c:pt idx="32">
                  <c:v>569</c:v>
                </c:pt>
                <c:pt idx="33">
                  <c:v>549</c:v>
                </c:pt>
                <c:pt idx="34">
                  <c:v>506</c:v>
                </c:pt>
                <c:pt idx="35">
                  <c:v>466</c:v>
                </c:pt>
                <c:pt idx="36">
                  <c:v>443</c:v>
                </c:pt>
                <c:pt idx="37">
                  <c:v>414</c:v>
                </c:pt>
                <c:pt idx="38">
                  <c:v>422</c:v>
                </c:pt>
                <c:pt idx="39">
                  <c:v>427</c:v>
                </c:pt>
                <c:pt idx="40">
                  <c:v>405</c:v>
                </c:pt>
                <c:pt idx="41">
                  <c:v>379</c:v>
                </c:pt>
                <c:pt idx="42">
                  <c:v>362</c:v>
                </c:pt>
                <c:pt idx="43">
                  <c:v>326</c:v>
                </c:pt>
                <c:pt idx="44">
                  <c:v>304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CU$5</c:f>
              <c:numCache>
                <c:formatCode>General</c:formatCode>
                <c:ptCount val="98"/>
                <c:pt idx="26">
                  <c:v>714.35551028016948</c:v>
                </c:pt>
                <c:pt idx="27">
                  <c:v>686.30542546746562</c:v>
                </c:pt>
                <c:pt idx="28">
                  <c:v>661.81084767735422</c:v>
                </c:pt>
                <c:pt idx="29">
                  <c:v>639.59076201690914</c:v>
                </c:pt>
                <c:pt idx="30">
                  <c:v>620.49756084384876</c:v>
                </c:pt>
                <c:pt idx="31">
                  <c:v>605.29705277523442</c:v>
                </c:pt>
                <c:pt idx="32">
                  <c:v>593.17836949586479</c:v>
                </c:pt>
                <c:pt idx="33">
                  <c:v>584.41767045124209</c:v>
                </c:pt>
                <c:pt idx="34">
                  <c:v>578.09142052422317</c:v>
                </c:pt>
                <c:pt idx="35">
                  <c:v>574.11055969810525</c:v>
                </c:pt>
                <c:pt idx="36">
                  <c:v>572.0360736605345</c:v>
                </c:pt>
                <c:pt idx="37">
                  <c:v>572.30479892600772</c:v>
                </c:pt>
                <c:pt idx="38">
                  <c:v>574.56324362337398</c:v>
                </c:pt>
                <c:pt idx="39">
                  <c:v>578.16898907789653</c:v>
                </c:pt>
                <c:pt idx="40">
                  <c:v>583.40778683899225</c:v>
                </c:pt>
                <c:pt idx="41">
                  <c:v>589.52242146060667</c:v>
                </c:pt>
                <c:pt idx="42">
                  <c:v>596.5400495154687</c:v>
                </c:pt>
                <c:pt idx="43">
                  <c:v>604.27542563106101</c:v>
                </c:pt>
                <c:pt idx="44">
                  <c:v>612.84244856221346</c:v>
                </c:pt>
                <c:pt idx="45">
                  <c:v>622.07259509710343</c:v>
                </c:pt>
                <c:pt idx="46">
                  <c:v>631.92087585583999</c:v>
                </c:pt>
                <c:pt idx="47">
                  <c:v>642.28204307295368</c:v>
                </c:pt>
                <c:pt idx="48">
                  <c:v>652.98900849198481</c:v>
                </c:pt>
                <c:pt idx="49">
                  <c:v>664.17476305530238</c:v>
                </c:pt>
                <c:pt idx="50">
                  <c:v>675.57419591293683</c:v>
                </c:pt>
                <c:pt idx="51">
                  <c:v>687.34326984775601</c:v>
                </c:pt>
                <c:pt idx="52">
                  <c:v>699.46986595100611</c:v>
                </c:pt>
                <c:pt idx="53">
                  <c:v>711.96553770726246</c:v>
                </c:pt>
                <c:pt idx="54">
                  <c:v>724.66444335595486</c:v>
                </c:pt>
                <c:pt idx="55">
                  <c:v>737.69438135591508</c:v>
                </c:pt>
                <c:pt idx="56">
                  <c:v>751.02528159227018</c:v>
                </c:pt>
                <c:pt idx="57">
                  <c:v>764.61935004944417</c:v>
                </c:pt>
                <c:pt idx="58">
                  <c:v>778.45323301121505</c:v>
                </c:pt>
                <c:pt idx="59">
                  <c:v>792.55051275229448</c:v>
                </c:pt>
                <c:pt idx="60">
                  <c:v>807.01342494085065</c:v>
                </c:pt>
                <c:pt idx="61">
                  <c:v>821.78071644483441</c:v>
                </c:pt>
                <c:pt idx="62">
                  <c:v>836.8116009712827</c:v>
                </c:pt>
                <c:pt idx="63">
                  <c:v>852.19736692510378</c:v>
                </c:pt>
                <c:pt idx="64">
                  <c:v>867.76851587142414</c:v>
                </c:pt>
                <c:pt idx="65">
                  <c:v>883.66419674704127</c:v>
                </c:pt>
                <c:pt idx="66">
                  <c:v>899.8871229215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55F-43E9-953D-C9CE717F27E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2000" b="1">
                <a:solidFill>
                  <a:sysClr val="windowText" lastClr="000000"/>
                </a:solidFill>
              </a:rPr>
              <a:t>Vývoj </a:t>
            </a:r>
            <a:r>
              <a:rPr lang="cs-CZ" sz="2000" b="1" baseline="0">
                <a:solidFill>
                  <a:sysClr val="windowText" lastClr="000000"/>
                </a:solidFill>
              </a:rPr>
              <a:t>obsazenosti C+ lůžek v ČR</a:t>
            </a:r>
            <a:endParaRPr lang="cs-CZ" sz="2000" b="1">
              <a:solidFill>
                <a:sysClr val="windowText" lastClr="000000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D$4</c:f>
              <c:strCache>
                <c:ptCount val="1"/>
                <c:pt idx="0">
                  <c:v>Standardní lůžk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C$5:$C$59</c:f>
              <c:numCache>
                <c:formatCode>m/d/yyyy</c:formatCode>
                <c:ptCount val="55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</c:numCache>
            </c:numRef>
          </c:cat>
          <c:val>
            <c:numRef>
              <c:f>List1!$D$5:$D$59</c:f>
              <c:numCache>
                <c:formatCode>#,##0</c:formatCode>
                <c:ptCount val="55"/>
                <c:pt idx="0">
                  <c:v>6602</c:v>
                </c:pt>
                <c:pt idx="1">
                  <c:v>7115</c:v>
                </c:pt>
                <c:pt idx="2">
                  <c:v>7150</c:v>
                </c:pt>
                <c:pt idx="3">
                  <c:v>7071</c:v>
                </c:pt>
                <c:pt idx="4">
                  <c:v>6936</c:v>
                </c:pt>
                <c:pt idx="5">
                  <c:v>6814</c:v>
                </c:pt>
                <c:pt idx="6">
                  <c:v>6376</c:v>
                </c:pt>
                <c:pt idx="7">
                  <c:v>6239</c:v>
                </c:pt>
                <c:pt idx="8">
                  <c:v>6746</c:v>
                </c:pt>
                <c:pt idx="9">
                  <c:v>6640</c:v>
                </c:pt>
                <c:pt idx="10">
                  <c:v>6384</c:v>
                </c:pt>
                <c:pt idx="11">
                  <c:v>6242</c:v>
                </c:pt>
                <c:pt idx="12">
                  <c:v>6215</c:v>
                </c:pt>
                <c:pt idx="13">
                  <c:v>5696</c:v>
                </c:pt>
                <c:pt idx="14">
                  <c:v>5570</c:v>
                </c:pt>
                <c:pt idx="15">
                  <c:v>6118</c:v>
                </c:pt>
                <c:pt idx="16">
                  <c:v>5980</c:v>
                </c:pt>
                <c:pt idx="17">
                  <c:v>5751</c:v>
                </c:pt>
                <c:pt idx="18">
                  <c:v>5548</c:v>
                </c:pt>
                <c:pt idx="19">
                  <c:v>5084</c:v>
                </c:pt>
                <c:pt idx="20">
                  <c:v>4968</c:v>
                </c:pt>
                <c:pt idx="21">
                  <c:v>4475</c:v>
                </c:pt>
                <c:pt idx="22">
                  <c:v>4457</c:v>
                </c:pt>
                <c:pt idx="23">
                  <c:v>5460</c:v>
                </c:pt>
                <c:pt idx="24">
                  <c:v>5189</c:v>
                </c:pt>
                <c:pt idx="25">
                  <c:v>4832</c:v>
                </c:pt>
                <c:pt idx="26">
                  <c:v>4586</c:v>
                </c:pt>
                <c:pt idx="27">
                  <c:v>4030</c:v>
                </c:pt>
                <c:pt idx="28">
                  <c:v>3880</c:v>
                </c:pt>
                <c:pt idx="29">
                  <c:v>4182</c:v>
                </c:pt>
                <c:pt idx="30">
                  <c:v>3963</c:v>
                </c:pt>
                <c:pt idx="31">
                  <c:v>3757</c:v>
                </c:pt>
                <c:pt idx="32">
                  <c:v>3574</c:v>
                </c:pt>
                <c:pt idx="33">
                  <c:v>3379</c:v>
                </c:pt>
                <c:pt idx="34">
                  <c:v>3041</c:v>
                </c:pt>
                <c:pt idx="35">
                  <c:v>2951</c:v>
                </c:pt>
                <c:pt idx="36">
                  <c:v>3125</c:v>
                </c:pt>
                <c:pt idx="37">
                  <c:v>3120</c:v>
                </c:pt>
                <c:pt idx="38">
                  <c:v>2986</c:v>
                </c:pt>
                <c:pt idx="39">
                  <c:v>2841</c:v>
                </c:pt>
                <c:pt idx="40">
                  <c:v>2668</c:v>
                </c:pt>
                <c:pt idx="41">
                  <c:v>2378</c:v>
                </c:pt>
                <c:pt idx="42">
                  <c:v>2351</c:v>
                </c:pt>
                <c:pt idx="43">
                  <c:v>2463</c:v>
                </c:pt>
                <c:pt idx="44">
                  <c:v>2374</c:v>
                </c:pt>
                <c:pt idx="45">
                  <c:v>2270</c:v>
                </c:pt>
                <c:pt idx="46">
                  <c:v>2151</c:v>
                </c:pt>
                <c:pt idx="47">
                  <c:v>1847</c:v>
                </c:pt>
                <c:pt idx="48">
                  <c:v>2020</c:v>
                </c:pt>
                <c:pt idx="49">
                  <c:v>1944</c:v>
                </c:pt>
                <c:pt idx="50">
                  <c:v>1844</c:v>
                </c:pt>
                <c:pt idx="51">
                  <c:v>1717</c:v>
                </c:pt>
                <c:pt idx="52">
                  <c:v>14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F6F-4398-9658-B790F5690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050880"/>
        <c:axId val="712047136"/>
      </c:lineChart>
      <c:lineChart>
        <c:grouping val="standard"/>
        <c:varyColors val="0"/>
        <c:ser>
          <c:idx val="1"/>
          <c:order val="1"/>
          <c:tx>
            <c:strRef>
              <c:f>List1!$E$4</c:f>
              <c:strCache>
                <c:ptCount val="1"/>
                <c:pt idx="0">
                  <c:v>Intenzivní péče (UPV/NIV + CPAP/HFNO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C$5:$C$59</c:f>
              <c:numCache>
                <c:formatCode>m/d/yyyy</c:formatCode>
                <c:ptCount val="55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</c:numCache>
            </c:numRef>
          </c:cat>
          <c:val>
            <c:numRef>
              <c:f>List1!$E$5:$E$59</c:f>
              <c:numCache>
                <c:formatCode>#,##0</c:formatCode>
                <c:ptCount val="55"/>
                <c:pt idx="0">
                  <c:v>1760</c:v>
                </c:pt>
                <c:pt idx="1">
                  <c:v>1824</c:v>
                </c:pt>
                <c:pt idx="2">
                  <c:v>1856</c:v>
                </c:pt>
                <c:pt idx="3">
                  <c:v>1839</c:v>
                </c:pt>
                <c:pt idx="4">
                  <c:v>1837</c:v>
                </c:pt>
                <c:pt idx="5">
                  <c:v>1818</c:v>
                </c:pt>
                <c:pt idx="6">
                  <c:v>1792</c:v>
                </c:pt>
                <c:pt idx="7">
                  <c:v>1768</c:v>
                </c:pt>
                <c:pt idx="8">
                  <c:v>1799</c:v>
                </c:pt>
                <c:pt idx="9">
                  <c:v>1762</c:v>
                </c:pt>
                <c:pt idx="10">
                  <c:v>1739</c:v>
                </c:pt>
                <c:pt idx="11">
                  <c:v>1723</c:v>
                </c:pt>
                <c:pt idx="12">
                  <c:v>1682</c:v>
                </c:pt>
                <c:pt idx="13">
                  <c:v>1641</c:v>
                </c:pt>
                <c:pt idx="14">
                  <c:v>1618</c:v>
                </c:pt>
                <c:pt idx="15">
                  <c:v>1606</c:v>
                </c:pt>
                <c:pt idx="16">
                  <c:v>1600</c:v>
                </c:pt>
                <c:pt idx="17">
                  <c:v>1547</c:v>
                </c:pt>
                <c:pt idx="18">
                  <c:v>1504</c:v>
                </c:pt>
                <c:pt idx="19">
                  <c:v>1446</c:v>
                </c:pt>
                <c:pt idx="20">
                  <c:v>1416</c:v>
                </c:pt>
                <c:pt idx="21">
                  <c:v>1312</c:v>
                </c:pt>
                <c:pt idx="22">
                  <c:v>1365</c:v>
                </c:pt>
                <c:pt idx="23">
                  <c:v>1315</c:v>
                </c:pt>
                <c:pt idx="24">
                  <c:v>1315</c:v>
                </c:pt>
                <c:pt idx="25">
                  <c:v>1312</c:v>
                </c:pt>
                <c:pt idx="26">
                  <c:v>1275</c:v>
                </c:pt>
                <c:pt idx="27">
                  <c:v>1241</c:v>
                </c:pt>
                <c:pt idx="28">
                  <c:v>1190</c:v>
                </c:pt>
                <c:pt idx="29">
                  <c:v>1166</c:v>
                </c:pt>
                <c:pt idx="30">
                  <c:v>1166</c:v>
                </c:pt>
                <c:pt idx="31">
                  <c:v>1131</c:v>
                </c:pt>
                <c:pt idx="32">
                  <c:v>1077</c:v>
                </c:pt>
                <c:pt idx="33">
                  <c:v>1042</c:v>
                </c:pt>
                <c:pt idx="34">
                  <c:v>1011</c:v>
                </c:pt>
                <c:pt idx="35">
                  <c:v>962</c:v>
                </c:pt>
                <c:pt idx="36">
                  <c:v>983</c:v>
                </c:pt>
                <c:pt idx="37">
                  <c:v>943</c:v>
                </c:pt>
                <c:pt idx="38">
                  <c:v>923</c:v>
                </c:pt>
                <c:pt idx="39">
                  <c:v>852</c:v>
                </c:pt>
                <c:pt idx="40">
                  <c:v>798</c:v>
                </c:pt>
                <c:pt idx="41">
                  <c:v>780</c:v>
                </c:pt>
                <c:pt idx="42">
                  <c:v>747</c:v>
                </c:pt>
                <c:pt idx="43">
                  <c:v>735</c:v>
                </c:pt>
                <c:pt idx="44">
                  <c:v>728</c:v>
                </c:pt>
                <c:pt idx="45">
                  <c:v>696</c:v>
                </c:pt>
                <c:pt idx="46">
                  <c:v>631</c:v>
                </c:pt>
                <c:pt idx="47">
                  <c:v>531</c:v>
                </c:pt>
                <c:pt idx="48">
                  <c:v>544</c:v>
                </c:pt>
                <c:pt idx="49">
                  <c:v>540</c:v>
                </c:pt>
                <c:pt idx="50">
                  <c:v>504</c:v>
                </c:pt>
                <c:pt idx="51">
                  <c:v>470</c:v>
                </c:pt>
                <c:pt idx="52">
                  <c:v>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6F-4398-9658-B790F5690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2083040"/>
        <c:axId val="592080960"/>
      </c:lineChart>
      <c:dateAx>
        <c:axId val="7120508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47136"/>
        <c:crosses val="autoZero"/>
        <c:auto val="1"/>
        <c:lblOffset val="100"/>
        <c:baseTimeUnit val="days"/>
      </c:dateAx>
      <c:valAx>
        <c:axId val="712047136"/>
        <c:scaling>
          <c:orientation val="minMax"/>
          <c:max val="7300"/>
          <c:min val="1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Standardní lůžka</a:t>
                </a:r>
              </a:p>
            </c:rich>
          </c:tx>
          <c:layout>
            <c:manualLayout>
              <c:xMode val="edge"/>
              <c:yMode val="edge"/>
              <c:x val="3.8641338415073595E-3"/>
              <c:y val="0.32176777861776218"/>
            </c:manualLayout>
          </c:layout>
          <c:overlay val="0"/>
          <c:spPr>
            <a:noFill/>
            <a:ln w="15875">
              <a:solidFill>
                <a:schemeClr val="accent1">
                  <a:lumMod val="75000"/>
                </a:schemeClr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50880"/>
        <c:crosses val="autoZero"/>
        <c:crossBetween val="between"/>
        <c:majorUnit val="700"/>
        <c:minorUnit val="200"/>
      </c:valAx>
      <c:valAx>
        <c:axId val="592080960"/>
        <c:scaling>
          <c:orientation val="minMax"/>
          <c:max val="2000"/>
          <c:min val="35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Intenzivní lůžka </a:t>
                </a:r>
              </a:p>
            </c:rich>
          </c:tx>
          <c:layout>
            <c:manualLayout>
              <c:xMode val="edge"/>
              <c:yMode val="edge"/>
              <c:x val="0.97101638157299319"/>
              <c:y val="0.31716722465630348"/>
            </c:manualLayout>
          </c:layout>
          <c:overlay val="0"/>
          <c:spPr>
            <a:noFill/>
            <a:ln w="15875">
              <a:solidFill>
                <a:schemeClr val="accent2"/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2083040"/>
        <c:crosses val="max"/>
        <c:crossBetween val="between"/>
        <c:majorUnit val="150"/>
        <c:minorUnit val="50"/>
      </c:valAx>
      <c:dateAx>
        <c:axId val="5920830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08096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10</c:v>
                </c:pt>
                <c:pt idx="1">
                  <c:v>6342</c:v>
                </c:pt>
                <c:pt idx="2">
                  <c:v>6428</c:v>
                </c:pt>
                <c:pt idx="3">
                  <c:v>6526</c:v>
                </c:pt>
                <c:pt idx="4">
                  <c:v>6545</c:v>
                </c:pt>
                <c:pt idx="5">
                  <c:v>6147</c:v>
                </c:pt>
                <c:pt idx="6">
                  <c:v>6354</c:v>
                </c:pt>
                <c:pt idx="7">
                  <c:v>7048</c:v>
                </c:pt>
                <c:pt idx="8">
                  <c:v>7077</c:v>
                </c:pt>
                <c:pt idx="9">
                  <c:v>7170</c:v>
                </c:pt>
                <c:pt idx="10">
                  <c:v>7386</c:v>
                </c:pt>
                <c:pt idx="11">
                  <c:v>7485</c:v>
                </c:pt>
                <c:pt idx="12">
                  <c:v>7187</c:v>
                </c:pt>
                <c:pt idx="13">
                  <c:v>7451</c:v>
                </c:pt>
                <c:pt idx="14">
                  <c:v>8256</c:v>
                </c:pt>
                <c:pt idx="15">
                  <c:v>8436</c:v>
                </c:pt>
                <c:pt idx="16">
                  <c:v>8380</c:v>
                </c:pt>
                <c:pt idx="17">
                  <c:v>8383</c:v>
                </c:pt>
                <c:pt idx="18">
                  <c:v>8450</c:v>
                </c:pt>
                <c:pt idx="19">
                  <c:v>8108</c:v>
                </c:pt>
                <c:pt idx="20">
                  <c:v>8332</c:v>
                </c:pt>
                <c:pt idx="21">
                  <c:v>9005</c:v>
                </c:pt>
                <c:pt idx="22">
                  <c:v>8976</c:v>
                </c:pt>
                <c:pt idx="23">
                  <c:v>8996</c:v>
                </c:pt>
                <c:pt idx="24">
                  <c:v>8962</c:v>
                </c:pt>
                <c:pt idx="25">
                  <c:v>8928</c:v>
                </c:pt>
                <c:pt idx="26">
                  <c:v>8530</c:v>
                </c:pt>
                <c:pt idx="27">
                  <c:v>8743</c:v>
                </c:pt>
                <c:pt idx="28">
                  <c:v>9460</c:v>
                </c:pt>
                <c:pt idx="29">
                  <c:v>9328</c:v>
                </c:pt>
                <c:pt idx="30">
                  <c:v>9157</c:v>
                </c:pt>
                <c:pt idx="31">
                  <c:v>8952</c:v>
                </c:pt>
                <c:pt idx="32">
                  <c:v>8764</c:v>
                </c:pt>
                <c:pt idx="33">
                  <c:v>8202</c:v>
                </c:pt>
                <c:pt idx="34">
                  <c:v>8315</c:v>
                </c:pt>
                <c:pt idx="35">
                  <c:v>8952</c:v>
                </c:pt>
                <c:pt idx="36">
                  <c:v>8617</c:v>
                </c:pt>
                <c:pt idx="37">
                  <c:v>8302</c:v>
                </c:pt>
                <c:pt idx="38">
                  <c:v>8144</c:v>
                </c:pt>
                <c:pt idx="39">
                  <c:v>8019</c:v>
                </c:pt>
                <c:pt idx="40">
                  <c:v>7499</c:v>
                </c:pt>
                <c:pt idx="41">
                  <c:v>7550</c:v>
                </c:pt>
                <c:pt idx="42">
                  <c:v>8090</c:v>
                </c:pt>
                <c:pt idx="43">
                  <c:v>7822</c:v>
                </c:pt>
                <c:pt idx="44">
                  <c:v>7507</c:v>
                </c:pt>
                <c:pt idx="45">
                  <c:v>7197</c:v>
                </c:pt>
                <c:pt idx="46">
                  <c:v>6369</c:v>
                </c:pt>
                <c:pt idx="47">
                  <c:v>6221</c:v>
                </c:pt>
                <c:pt idx="48">
                  <c:v>6316</c:v>
                </c:pt>
                <c:pt idx="49">
                  <c:v>6384</c:v>
                </c:pt>
                <c:pt idx="50">
                  <c:v>7058</c:v>
                </c:pt>
                <c:pt idx="51">
                  <c:v>6702</c:v>
                </c:pt>
                <c:pt idx="52">
                  <c:v>6226</c:v>
                </c:pt>
                <c:pt idx="53">
                  <c:v>5911</c:v>
                </c:pt>
                <c:pt idx="54">
                  <c:v>5273</c:v>
                </c:pt>
                <c:pt idx="55">
                  <c:v>5227</c:v>
                </c:pt>
                <c:pt idx="56">
                  <c:v>5520</c:v>
                </c:pt>
                <c:pt idx="57">
                  <c:v>5213</c:v>
                </c:pt>
                <c:pt idx="58">
                  <c:v>4912</c:v>
                </c:pt>
                <c:pt idx="59">
                  <c:v>4652</c:v>
                </c:pt>
                <c:pt idx="60">
                  <c:v>4407</c:v>
                </c:pt>
                <c:pt idx="61">
                  <c:v>4011</c:v>
                </c:pt>
                <c:pt idx="62">
                  <c:v>4019</c:v>
                </c:pt>
                <c:pt idx="63">
                  <c:v>4291</c:v>
                </c:pt>
                <c:pt idx="64">
                  <c:v>4123</c:v>
                </c:pt>
                <c:pt idx="65">
                  <c:v>3962</c:v>
                </c:pt>
                <c:pt idx="66">
                  <c:v>3727</c:v>
                </c:pt>
                <c:pt idx="67">
                  <c:v>3513</c:v>
                </c:pt>
                <c:pt idx="68">
                  <c:v>3166</c:v>
                </c:pt>
                <c:pt idx="69">
                  <c:v>3164</c:v>
                </c:pt>
                <c:pt idx="70">
                  <c:v>3315</c:v>
                </c:pt>
                <c:pt idx="71">
                  <c:v>3148</c:v>
                </c:pt>
                <c:pt idx="72">
                  <c:v>3001</c:v>
                </c:pt>
                <c:pt idx="73">
                  <c:v>2836</c:v>
                </c:pt>
                <c:pt idx="74">
                  <c:v>2677</c:v>
                </c:pt>
                <c:pt idx="75">
                  <c:v>2474</c:v>
                </c:pt>
                <c:pt idx="76">
                  <c:v>2502</c:v>
                </c:pt>
                <c:pt idx="77">
                  <c:v>2693</c:v>
                </c:pt>
                <c:pt idx="78">
                  <c:v>2539</c:v>
                </c:pt>
                <c:pt idx="79">
                  <c:v>2361</c:v>
                </c:pt>
                <c:pt idx="80">
                  <c:v>2220</c:v>
                </c:pt>
                <c:pt idx="81">
                  <c:v>2122</c:v>
                </c:pt>
                <c:pt idx="82">
                  <c:v>1885</c:v>
                </c:pt>
                <c:pt idx="83">
                  <c:v>1865</c:v>
                </c:pt>
                <c:pt idx="84">
                  <c:v>1979</c:v>
                </c:pt>
                <c:pt idx="85">
                  <c:v>1829</c:v>
                </c:pt>
                <c:pt idx="86">
                  <c:v>1719</c:v>
                </c:pt>
                <c:pt idx="87">
                  <c:v>1598</c:v>
                </c:pt>
                <c:pt idx="88">
                  <c:v>1483</c:v>
                </c:pt>
                <c:pt idx="89">
                  <c:v>1337</c:v>
                </c:pt>
                <c:pt idx="90">
                  <c:v>1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7426.8491842441945</c:v>
                </c:pt>
                <c:pt idx="11">
                  <c:v>7641.2885885599235</c:v>
                </c:pt>
                <c:pt idx="12">
                  <c:v>7858.7733974309403</c:v>
                </c:pt>
                <c:pt idx="13">
                  <c:v>8080.8756470241578</c:v>
                </c:pt>
                <c:pt idx="14">
                  <c:v>8303.7918340452834</c:v>
                </c:pt>
                <c:pt idx="15">
                  <c:v>8520.4495690051208</c:v>
                </c:pt>
                <c:pt idx="16">
                  <c:v>8729.2493516752984</c:v>
                </c:pt>
                <c:pt idx="17">
                  <c:v>8923.2127582981848</c:v>
                </c:pt>
                <c:pt idx="18">
                  <c:v>9094.9550504792642</c:v>
                </c:pt>
                <c:pt idx="19">
                  <c:v>9244.2984538285218</c:v>
                </c:pt>
                <c:pt idx="20">
                  <c:v>9371.4411388932676</c:v>
                </c:pt>
                <c:pt idx="21">
                  <c:v>9472.5884748683129</c:v>
                </c:pt>
                <c:pt idx="22">
                  <c:v>9546.1786250814639</c:v>
                </c:pt>
                <c:pt idx="23">
                  <c:v>9593.6506055808859</c:v>
                </c:pt>
                <c:pt idx="24">
                  <c:v>9617.2526729955462</c:v>
                </c:pt>
                <c:pt idx="25">
                  <c:v>9619.1771934930184</c:v>
                </c:pt>
                <c:pt idx="26">
                  <c:v>9600.5731324596945</c:v>
                </c:pt>
                <c:pt idx="27">
                  <c:v>9562.0426167209662</c:v>
                </c:pt>
                <c:pt idx="28">
                  <c:v>9503.5506228442719</c:v>
                </c:pt>
                <c:pt idx="29">
                  <c:v>9426.8062612804042</c:v>
                </c:pt>
                <c:pt idx="30">
                  <c:v>9333.9796280685005</c:v>
                </c:pt>
                <c:pt idx="31">
                  <c:v>9226.8100015593973</c:v>
                </c:pt>
                <c:pt idx="32">
                  <c:v>9106.5364321818051</c:v>
                </c:pt>
                <c:pt idx="33">
                  <c:v>8974.6868556154459</c:v>
                </c:pt>
                <c:pt idx="34">
                  <c:v>8833.0057791238651</c:v>
                </c:pt>
                <c:pt idx="35">
                  <c:v>8682.4813127953385</c:v>
                </c:pt>
                <c:pt idx="36">
                  <c:v>8524.4538241035316</c:v>
                </c:pt>
                <c:pt idx="37">
                  <c:v>8360.0207496982239</c:v>
                </c:pt>
                <c:pt idx="38">
                  <c:v>8190.0100184020584</c:v>
                </c:pt>
                <c:pt idx="39">
                  <c:v>8015.5164645318864</c:v>
                </c:pt>
                <c:pt idx="40">
                  <c:v>7837.5822790957545</c:v>
                </c:pt>
                <c:pt idx="41">
                  <c:v>7656.9110186796343</c:v>
                </c:pt>
                <c:pt idx="42">
                  <c:v>7474.1573623288295</c:v>
                </c:pt>
                <c:pt idx="43">
                  <c:v>7290.0887941771989</c:v>
                </c:pt>
                <c:pt idx="44">
                  <c:v>7105.2529061667101</c:v>
                </c:pt>
                <c:pt idx="45">
                  <c:v>6920.1492689128791</c:v>
                </c:pt>
                <c:pt idx="46">
                  <c:v>6735.342094785774</c:v>
                </c:pt>
                <c:pt idx="47">
                  <c:v>6551.1772442467136</c:v>
                </c:pt>
                <c:pt idx="48">
                  <c:v>6369.6818716982752</c:v>
                </c:pt>
                <c:pt idx="49">
                  <c:v>6191.14257632717</c:v>
                </c:pt>
                <c:pt idx="50">
                  <c:v>6015.6800914217065</c:v>
                </c:pt>
                <c:pt idx="51">
                  <c:v>5843.4320802559569</c:v>
                </c:pt>
                <c:pt idx="52">
                  <c:v>5674.4870437275986</c:v>
                </c:pt>
                <c:pt idx="53">
                  <c:v>5508.8876394518329</c:v>
                </c:pt>
                <c:pt idx="54">
                  <c:v>5346.7253900737824</c:v>
                </c:pt>
                <c:pt idx="55">
                  <c:v>5188.0885085985356</c:v>
                </c:pt>
                <c:pt idx="56">
                  <c:v>5033.0442936686341</c:v>
                </c:pt>
                <c:pt idx="57">
                  <c:v>4881.6233763704449</c:v>
                </c:pt>
                <c:pt idx="58">
                  <c:v>4733.8492870612527</c:v>
                </c:pt>
                <c:pt idx="59">
                  <c:v>4589.7525521492007</c:v>
                </c:pt>
                <c:pt idx="60">
                  <c:v>4449.3294123228152</c:v>
                </c:pt>
                <c:pt idx="61">
                  <c:v>4312.5383723072573</c:v>
                </c:pt>
                <c:pt idx="62">
                  <c:v>4179.2096796089745</c:v>
                </c:pt>
                <c:pt idx="63">
                  <c:v>4049.1892020755904</c:v>
                </c:pt>
                <c:pt idx="64">
                  <c:v>3922.5826558302429</c:v>
                </c:pt>
                <c:pt idx="65">
                  <c:v>3799.420499892321</c:v>
                </c:pt>
                <c:pt idx="66">
                  <c:v>3679.6823541430986</c:v>
                </c:pt>
                <c:pt idx="67">
                  <c:v>3563.364926006409</c:v>
                </c:pt>
                <c:pt idx="68">
                  <c:v>3450.4609229791427</c:v>
                </c:pt>
                <c:pt idx="69">
                  <c:v>3340.9201847728</c:v>
                </c:pt>
                <c:pt idx="70">
                  <c:v>3234.7102726468447</c:v>
                </c:pt>
                <c:pt idx="71">
                  <c:v>3132.5180477344002</c:v>
                </c:pt>
                <c:pt idx="72">
                  <c:v>3034.8192170870798</c:v>
                </c:pt>
                <c:pt idx="73">
                  <c:v>2941.8625687581357</c:v>
                </c:pt>
                <c:pt idx="74">
                  <c:v>2853.76379202818</c:v>
                </c:pt>
                <c:pt idx="75">
                  <c:v>2770.5602045381074</c:v>
                </c:pt>
                <c:pt idx="76">
                  <c:v>2692.246918019508</c:v>
                </c:pt>
                <c:pt idx="77">
                  <c:v>2618.798193780673</c:v>
                </c:pt>
                <c:pt idx="78">
                  <c:v>2550.1883841627828</c:v>
                </c:pt>
                <c:pt idx="79">
                  <c:v>2486.3734739102861</c:v>
                </c:pt>
                <c:pt idx="80">
                  <c:v>2427.258546612135</c:v>
                </c:pt>
                <c:pt idx="81">
                  <c:v>2372.6864885357445</c:v>
                </c:pt>
                <c:pt idx="82">
                  <c:v>2322.4479529265518</c:v>
                </c:pt>
                <c:pt idx="83">
                  <c:v>2276.3013321467274</c:v>
                </c:pt>
                <c:pt idx="84">
                  <c:v>2233.9649761603914</c:v>
                </c:pt>
                <c:pt idx="85">
                  <c:v>2195.1326465706366</c:v>
                </c:pt>
                <c:pt idx="86">
                  <c:v>2159.4861666696311</c:v>
                </c:pt>
                <c:pt idx="87">
                  <c:v>2126.7073747377999</c:v>
                </c:pt>
                <c:pt idx="88">
                  <c:v>2096.4868292186015</c:v>
                </c:pt>
                <c:pt idx="89">
                  <c:v>2068.5296363381899</c:v>
                </c:pt>
                <c:pt idx="90">
                  <c:v>2042.5561249189477</c:v>
                </c:pt>
                <c:pt idx="91">
                  <c:v>2018.3022020011899</c:v>
                </c:pt>
                <c:pt idx="92">
                  <c:v>1995.518722848054</c:v>
                </c:pt>
                <c:pt idx="93">
                  <c:v>1973.9787205801392</c:v>
                </c:pt>
                <c:pt idx="94">
                  <c:v>1953.4805919230546</c:v>
                </c:pt>
                <c:pt idx="95">
                  <c:v>1933.8480410093039</c:v>
                </c:pt>
                <c:pt idx="96">
                  <c:v>1914.9280024510178</c:v>
                </c:pt>
                <c:pt idx="97">
                  <c:v>1896.5870016107658</c:v>
                </c:pt>
                <c:pt idx="98">
                  <c:v>1878.7245339652259</c:v>
                </c:pt>
                <c:pt idx="99">
                  <c:v>1861.2655973864325</c:v>
                </c:pt>
                <c:pt idx="100">
                  <c:v>1844.1534808529698</c:v>
                </c:pt>
                <c:pt idx="101">
                  <c:v>1827.3448641063899</c:v>
                </c:pt>
                <c:pt idx="102">
                  <c:v>1810.8058850418565</c:v>
                </c:pt>
                <c:pt idx="103">
                  <c:v>1794.5103092201423</c:v>
                </c:pt>
                <c:pt idx="104">
                  <c:v>1778.4376019176916</c:v>
                </c:pt>
                <c:pt idx="105">
                  <c:v>1762.5711082779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7390.376078888994</c:v>
                </c:pt>
                <c:pt idx="11">
                  <c:v>7560.5663616120992</c:v>
                </c:pt>
                <c:pt idx="12">
                  <c:v>7731.759888923496</c:v>
                </c:pt>
                <c:pt idx="13">
                  <c:v>7906.3614437905435</c:v>
                </c:pt>
                <c:pt idx="14">
                  <c:v>8081.0306685990772</c:v>
                </c:pt>
                <c:pt idx="15">
                  <c:v>8248.8358272626447</c:v>
                </c:pt>
                <c:pt idx="16">
                  <c:v>8408.4235352037649</c:v>
                </c:pt>
                <c:pt idx="17">
                  <c:v>8553.4595334598653</c:v>
                </c:pt>
                <c:pt idx="18">
                  <c:v>8677.5263222338017</c:v>
                </c:pt>
                <c:pt idx="19">
                  <c:v>8780.8848523242159</c:v>
                </c:pt>
                <c:pt idx="20">
                  <c:v>8864.5370259415486</c:v>
                </c:pt>
                <c:pt idx="21">
                  <c:v>8925.6691299824433</c:v>
                </c:pt>
                <c:pt idx="22">
                  <c:v>8962.8370098400901</c:v>
                </c:pt>
                <c:pt idx="23">
                  <c:v>8977.1357322977565</c:v>
                </c:pt>
                <c:pt idx="24">
                  <c:v>8970.5099558108395</c:v>
                </c:pt>
                <c:pt idx="25">
                  <c:v>8944.9483710805962</c:v>
                </c:pt>
                <c:pt idx="26">
                  <c:v>8901.2184566174383</c:v>
                </c:pt>
                <c:pt idx="27">
                  <c:v>8839.545984773391</c:v>
                </c:pt>
                <c:pt idx="28">
                  <c:v>8759.6368819682466</c:v>
                </c:pt>
                <c:pt idx="29">
                  <c:v>8662.9599938767187</c:v>
                </c:pt>
                <c:pt idx="30">
                  <c:v>8551.5235222076753</c:v>
                </c:pt>
                <c:pt idx="31">
                  <c:v>8426.8782468293412</c:v>
                </c:pt>
                <c:pt idx="32">
                  <c:v>8289.9503448128726</c:v>
                </c:pt>
                <c:pt idx="33">
                  <c:v>8141.8268934944235</c:v>
                </c:pt>
                <c:pt idx="34">
                  <c:v>7983.9742670862415</c:v>
                </c:pt>
                <c:pt idx="35">
                  <c:v>7817.336781502192</c:v>
                </c:pt>
                <c:pt idx="36">
                  <c:v>7643.2841439087324</c:v>
                </c:pt>
                <c:pt idx="37">
                  <c:v>7462.8807235054155</c:v>
                </c:pt>
                <c:pt idx="38">
                  <c:v>7276.9664777328026</c:v>
                </c:pt>
                <c:pt idx="39">
                  <c:v>7086.6495252608902</c:v>
                </c:pt>
                <c:pt idx="40">
                  <c:v>6893.023133288345</c:v>
                </c:pt>
                <c:pt idx="41">
                  <c:v>6696.9343451260074</c:v>
                </c:pt>
                <c:pt idx="42">
                  <c:v>6499.1881300981377</c:v>
                </c:pt>
                <c:pt idx="43">
                  <c:v>6300.7258193655734</c:v>
                </c:pt>
                <c:pt idx="44">
                  <c:v>6102.2622422534714</c:v>
                </c:pt>
                <c:pt idx="45">
                  <c:v>5904.4599146211976</c:v>
                </c:pt>
                <c:pt idx="46">
                  <c:v>5708.0332198479173</c:v>
                </c:pt>
                <c:pt idx="47">
                  <c:v>5513.4814572506493</c:v>
                </c:pt>
                <c:pt idx="48">
                  <c:v>5322.7011502115347</c:v>
                </c:pt>
                <c:pt idx="49">
                  <c:v>5136.0989921154878</c:v>
                </c:pt>
                <c:pt idx="50">
                  <c:v>4953.9156434867891</c:v>
                </c:pt>
                <c:pt idx="51">
                  <c:v>4776.3712721748889</c:v>
                </c:pt>
                <c:pt idx="52">
                  <c:v>4603.6305168492181</c:v>
                </c:pt>
                <c:pt idx="53">
                  <c:v>4435.809941559769</c:v>
                </c:pt>
                <c:pt idx="54">
                  <c:v>4272.9564371910619</c:v>
                </c:pt>
                <c:pt idx="55">
                  <c:v>4115.0384719323229</c:v>
                </c:pt>
                <c:pt idx="56">
                  <c:v>3961.9641177195499</c:v>
                </c:pt>
                <c:pt idx="57">
                  <c:v>3813.5845495850799</c:v>
                </c:pt>
                <c:pt idx="58">
                  <c:v>3669.7408370515359</c:v>
                </c:pt>
                <c:pt idx="59">
                  <c:v>3530.2881179976384</c:v>
                </c:pt>
                <c:pt idx="60">
                  <c:v>3395.1171497090209</c:v>
                </c:pt>
                <c:pt idx="61">
                  <c:v>3264.1483301280509</c:v>
                </c:pt>
                <c:pt idx="62">
                  <c:v>3137.2160545631791</c:v>
                </c:pt>
                <c:pt idx="63">
                  <c:v>3014.1802134697659</c:v>
                </c:pt>
                <c:pt idx="64">
                  <c:v>2895.0883333579691</c:v>
                </c:pt>
                <c:pt idx="65">
                  <c:v>2779.8923620749533</c:v>
                </c:pt>
                <c:pt idx="66">
                  <c:v>2668.513455558385</c:v>
                </c:pt>
                <c:pt idx="67">
                  <c:v>2560.9187104228104</c:v>
                </c:pt>
                <c:pt idx="68">
                  <c:v>2457.104579352324</c:v>
                </c:pt>
                <c:pt idx="69">
                  <c:v>2357.0409803930156</c:v>
                </c:pt>
                <c:pt idx="70">
                  <c:v>2260.7080044390395</c:v>
                </c:pt>
                <c:pt idx="71">
                  <c:v>2168.5236942264246</c:v>
                </c:pt>
                <c:pt idx="72">
                  <c:v>2080.7339332177116</c:v>
                </c:pt>
                <c:pt idx="73">
                  <c:v>1997.4336124521719</c:v>
                </c:pt>
                <c:pt idx="74">
                  <c:v>1918.6324270671246</c:v>
                </c:pt>
                <c:pt idx="75">
                  <c:v>1844.2905732759427</c:v>
                </c:pt>
                <c:pt idx="76">
                  <c:v>1774.3407353181883</c:v>
                </c:pt>
                <c:pt idx="77">
                  <c:v>1708.6961356804984</c:v>
                </c:pt>
                <c:pt idx="78">
                  <c:v>1647.2488107708523</c:v>
                </c:pt>
                <c:pt idx="79">
                  <c:v>1589.8597401378745</c:v>
                </c:pt>
                <c:pt idx="80">
                  <c:v>1536.3621653024416</c:v>
                </c:pt>
                <c:pt idx="81">
                  <c:v>1486.5615048056395</c:v>
                </c:pt>
                <c:pt idx="82">
                  <c:v>1440.2383156176234</c:v>
                </c:pt>
                <c:pt idx="83">
                  <c:v>1397.0711114147584</c:v>
                </c:pt>
                <c:pt idx="84">
                  <c:v>1356.6775706780152</c:v>
                </c:pt>
                <c:pt idx="85">
                  <c:v>1318.6556962910968</c:v>
                </c:pt>
                <c:pt idx="86">
                  <c:v>1282.6038164750046</c:v>
                </c:pt>
                <c:pt idx="87">
                  <c:v>1248.16780305578</c:v>
                </c:pt>
                <c:pt idx="88">
                  <c:v>1215.0369875384508</c:v>
                </c:pt>
                <c:pt idx="89">
                  <c:v>1182.9366880523062</c:v>
                </c:pt>
                <c:pt idx="90">
                  <c:v>1151.6216380273365</c:v>
                </c:pt>
                <c:pt idx="91">
                  <c:v>1120.8733152870509</c:v>
                </c:pt>
                <c:pt idx="92">
                  <c:v>1090.5579626511567</c:v>
                </c:pt>
                <c:pt idx="93">
                  <c:v>1060.6079443164761</c:v>
                </c:pt>
                <c:pt idx="94">
                  <c:v>1031.0022258806455</c:v>
                </c:pt>
                <c:pt idx="95">
                  <c:v>1001.7507720976462</c:v>
                </c:pt>
                <c:pt idx="96">
                  <c:v>972.88267690425448</c:v>
                </c:pt>
                <c:pt idx="97">
                  <c:v>944.43700909276265</c:v>
                </c:pt>
                <c:pt idx="98">
                  <c:v>916.45759145203431</c:v>
                </c:pt>
                <c:pt idx="99">
                  <c:v>888.9921957573946</c:v>
                </c:pt>
                <c:pt idx="100">
                  <c:v>862.09603725550801</c:v>
                </c:pt>
                <c:pt idx="101">
                  <c:v>835.82544682989305</c:v>
                </c:pt>
                <c:pt idx="102">
                  <c:v>810.23205399591552</c:v>
                </c:pt>
                <c:pt idx="103">
                  <c:v>785.35943292395098</c:v>
                </c:pt>
                <c:pt idx="104">
                  <c:v>761.24232753317153</c:v>
                </c:pt>
                <c:pt idx="105">
                  <c:v>737.90723586154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06</cdr:x>
      <cdr:y>0.9369</cdr:y>
    </cdr:from>
    <cdr:to>
      <cdr:x>1</cdr:x>
      <cdr:y>0.98088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6296025" y="4667249"/>
          <a:ext cx="1409700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cs-CZ" sz="1200" b="1">
              <a:latin typeface="+mn-lt"/>
            </a:rPr>
            <a:t>Zdroj: ÚZI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732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88552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071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28594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7162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216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301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87257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1414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686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0847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8113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1869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22320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295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4904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86410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8021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799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018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8.05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8.05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5901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72948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chart" Target="../charts/char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0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chart" Target="../charts/chart9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chart" Target="../charts/chart10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3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chart" Target="../charts/chart1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3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1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/>
              <a:t>Zhodnocení predikcí vývoje epidemie </a:t>
            </a:r>
          </a:p>
          <a:p>
            <a:r>
              <a:rPr lang="cs-CZ" sz="5200" b="1" dirty="0"/>
              <a:t>ve vazbě na přijatá opatření </a:t>
            </a:r>
          </a:p>
          <a:p>
            <a:r>
              <a:rPr lang="cs-CZ" sz="4200" i="1" dirty="0"/>
              <a:t>Modely vybudované k 5. 3. 2021 a 10. 4. 2021</a:t>
            </a:r>
          </a:p>
          <a:p>
            <a:r>
              <a:rPr lang="cs-CZ" sz="4200" i="1" dirty="0"/>
              <a:t>- doplnění dat k 17. 5. 2021</a:t>
            </a:r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481045C7-C675-4997-ACF0-B58006E3C8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72" y="1525296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0925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Nové modely zahrnující i potenciální </a:t>
            </a:r>
          </a:p>
          <a:p>
            <a:r>
              <a:rPr lang="cs-CZ" sz="5000" b="1" dirty="0"/>
              <a:t>dopad postupující vakcinace </a:t>
            </a:r>
          </a:p>
        </p:txBody>
      </p:sp>
    </p:spTree>
    <p:extLst>
      <p:ext uri="{BB962C8B-B14F-4D97-AF65-F5344CB8AC3E}">
        <p14:creationId xmlns:p14="http://schemas.microsoft.com/office/powerpoint/2010/main" val="1372849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96334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/>
              <a:t>Model byl nově rozvinut a doplněn o komponentu Vakcinace (Model SEIRV) </a:t>
            </a:r>
          </a:p>
          <a:p>
            <a:pPr lvl="0" algn="ctr">
              <a:defRPr/>
            </a:pPr>
            <a:r>
              <a:rPr lang="cs-CZ" sz="2400" b="1" kern="0" dirty="0"/>
              <a:t>– tedy stav po očkování, přičemž predikce pracují s rychlým efektem vakcinace (plná ochrana již s odstupem po 1. dávce) a s pomalejším efektem vakcinace (plná ochrana po druhé dávce)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4306382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Model uvažuje věkově specifické počty vakcinovaných</a:t>
            </a:r>
            <a:r>
              <a:rPr lang="en-US" dirty="0"/>
              <a:t> – </a:t>
            </a:r>
            <a:r>
              <a:rPr lang="en-US" dirty="0" err="1"/>
              <a:t>pozorovan</a:t>
            </a:r>
            <a:r>
              <a:rPr lang="cs-CZ" dirty="0" err="1"/>
              <a:t>ých</a:t>
            </a:r>
            <a:r>
              <a:rPr lang="cs-CZ" dirty="0"/>
              <a:t> dle ISIN a popsaná projekce počtu očkovaných pro budoucí simulace. Jedinec dosáhne ochrany před nákazou při druhé dávce (pomalý scénář) nebo při první dávce (rychlý scénář), přičemž se předpokládá i ochrana před možností přenášet infekci. Jedinci přecházejí ze stavů S a R proporčně do stavu V (očkovaní jsou i jedinci s prodělanou infekcí v minulosti), nepředpokládá 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3112267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 dlouhodobé simulace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/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4813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Stávající vývoj epidemie je velmi pozitivní, populační zátěž významně klesá a projevuje se již postupující vakcinace rizikových skupin obyvatel </a:t>
            </a:r>
            <a:endParaRPr lang="cs-CZ" sz="2400" i="1" kern="0" dirty="0">
              <a:solidFill>
                <a:prstClr val="black"/>
              </a:solidFill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0" y="459567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800" b="1" kern="0" dirty="0">
                <a:solidFill>
                  <a:srgbClr val="3333CC"/>
                </a:solidFill>
              </a:rPr>
              <a:t>Současný vývoj odpovídá velmi optimistickému scénáři, který předpokládal rychlé brždění epidemie odpovídající reprodukčnímu číslu cca 0,8, posílenému o rychlý efekt postupující vakcinace (imunita dosažená již po 1. dávce vakcíny) </a:t>
            </a:r>
          </a:p>
        </p:txBody>
      </p:sp>
    </p:spTree>
    <p:extLst>
      <p:ext uri="{BB962C8B-B14F-4D97-AF65-F5344CB8AC3E}">
        <p14:creationId xmlns:p14="http://schemas.microsoft.com/office/powerpoint/2010/main" val="5009578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C3BCE738-9CE2-46D8-9A6C-14689EF6F4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68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2669574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0D2B2F96-6993-4F71-BC10-DD241F5FE5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68" y="1526465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671684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DAA48DCF-3CFA-400A-8149-ED872A483B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40" y="1526066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</a:t>
            </a:r>
            <a:r>
              <a:rPr kumimoji="0" lang="cs-CZ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í </a:t>
            </a:r>
            <a:r>
              <a:rPr kumimoji="0" lang="en-US" sz="2200" b="1" i="0" u="sng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</a:t>
            </a:r>
            <a:r>
              <a:rPr kumimoji="0" lang="en-US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květnu</a:t>
            </a:r>
            <a:b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094284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0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4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7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6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70196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38095026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47D0C62B-24E9-4369-8031-1994684E56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490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</a:t>
            </a:r>
            <a:r>
              <a:rPr lang="cs-CZ" sz="2200" b="1" u="sng" dirty="0">
                <a:solidFill>
                  <a:prstClr val="white"/>
                </a:solidFill>
              </a:rPr>
              <a:t>potenciální </a:t>
            </a:r>
            <a:r>
              <a:rPr kumimoji="0" lang="en-US" sz="2200" b="1" i="0" u="sng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</a:t>
            </a:r>
            <a:r>
              <a:rPr kumimoji="0" lang="en-US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květnu</a:t>
            </a:r>
            <a:b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094284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0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4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7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6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70196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40392115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6" y="3518270"/>
            <a:ext cx="1173783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v dubn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 3.5. se na vývoji epidemie neprojevilo, situace začíná být stabilní. Pokud i další kroky budou pozvolné a uvážené, lze i v důsledku postupující vakcinace očekávat, že 7denní počet nově potvrzených případů bude dále významně klesat i v průběhu května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88" y="134502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152401"/>
            <a:ext cx="11508509" cy="3056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</a:t>
            </a:r>
            <a:r>
              <a:rPr kumimoji="0" lang="cs-CZ" sz="3400" b="1" i="0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založené na modelu SEIR(V) byly promítnuty do tří scénářů možného vývoje</a:t>
            </a:r>
            <a:endParaRPr kumimoji="0" lang="cs-CZ" sz="3400" b="1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malé brždění</a:t>
            </a:r>
            <a:r>
              <a:rPr kumimoji="0" lang="cs-CZ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é brždění epidemie v důsledku efektu přijatých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ňování v dubnu bez dopadu na růst epidemie a vliv postupující vakcinace</a:t>
            </a:r>
            <a:endParaRPr kumimoji="0" lang="cs-CZ" sz="2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150563" y="61707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ývoj epidemie v populačních datech</a:t>
            </a:r>
          </a:p>
          <a:p>
            <a:r>
              <a:rPr lang="cs-CZ" sz="4000" i="1" dirty="0"/>
              <a:t>Modely doplněné o reálné počty zachycených případů</a:t>
            </a:r>
          </a:p>
          <a:p>
            <a:r>
              <a:rPr lang="cs-CZ" sz="4000" i="1" dirty="0"/>
              <a:t>(uzavřené hodnocení k 17. 5. 2021)</a:t>
            </a:r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3186997"/>
          </a:xfrm>
        </p:spPr>
        <p:txBody>
          <a:bodyPr>
            <a:normAutofit fontScale="92500" lnSpcReduction="10000"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endParaRPr lang="cs-CZ" sz="2400" b="1" dirty="0"/>
          </a:p>
          <a:p>
            <a:endParaRPr lang="cs-CZ" sz="2400" b="1" dirty="0"/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3.: snížení pracovních kontaktů na 20 %, školní kontakty na 0 %, snížení jiných kontaktů na 20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184190" y="3361822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1184191" y="2160610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</p:spTree>
    <p:extLst>
      <p:ext uri="{BB962C8B-B14F-4D97-AF65-F5344CB8AC3E}">
        <p14:creationId xmlns:p14="http://schemas.microsoft.com/office/powerpoint/2010/main" val="37596047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112392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6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40952467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8"/>
            <a:ext cx="11487705" cy="1860222"/>
          </a:xfrm>
        </p:spPr>
        <p:txBody>
          <a:bodyPr>
            <a:normAutofit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 3.: snížení pracovních kontaktů na 20 %, školní kontakty na 0 %, snížení jiných kontaktů na 20 %</a:t>
            </a:r>
          </a:p>
        </p:txBody>
      </p:sp>
      <p:sp>
        <p:nvSpPr>
          <p:cNvPr id="2" name="Šipka dolů 1"/>
          <p:cNvSpPr/>
          <p:nvPr/>
        </p:nvSpPr>
        <p:spPr>
          <a:xfrm>
            <a:off x="1201271" y="3325906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 txBox="1">
            <a:spLocks/>
          </p:cNvSpPr>
          <p:nvPr/>
        </p:nvSpPr>
        <p:spPr>
          <a:xfrm>
            <a:off x="381738" y="4110273"/>
            <a:ext cx="11487705" cy="18602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pokládá rychlý pokles virové nálože v populaci a opatrné uvolňování opatření v dubnu, bez negativního vlivu na vývoj epidemie. K tomuto scénáři byl pro nerizikový vývoj modelově doplněn rychlý efekt postupující vakcinace, u kterého je předpokládána ochrana očkované osoby již za 14 dní po 1. dávce vakcíny.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→ tento efekt je modelován ve S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énář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a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1201270" y="5731467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2995062" y="5601163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</p:spTree>
    <p:extLst>
      <p:ext uri="{BB962C8B-B14F-4D97-AF65-F5344CB8AC3E}">
        <p14:creationId xmlns:p14="http://schemas.microsoft.com/office/powerpoint/2010/main" val="25788943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9803830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6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</p:spTree>
    <p:extLst>
      <p:ext uri="{BB962C8B-B14F-4D97-AF65-F5344CB8AC3E}">
        <p14:creationId xmlns:p14="http://schemas.microsoft.com/office/powerpoint/2010/main" val="21675434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Nově vybudované modely pro květen, kalibrace z 28.4. 2021</a:t>
            </a:r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D4012DA7-28B4-4DCF-942D-78249B3524F0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31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DA3EF7BF-2ACC-43D6-A3D0-421B9DC34238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45674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/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775681"/>
            <a:chOff x="10258697" y="3526984"/>
            <a:chExt cx="1900937" cy="1908215"/>
          </a:xfrm>
        </p:grpSpPr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BAE71C2-9271-49DB-9933-F8F2C2E5BF0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7EABB7EB-1F4F-4C72-8298-72770870F6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508263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7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1037846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A665803-1DC4-405A-890C-856A7A517E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64BB4425-121F-4BE5-B383-0BB65CDB97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078514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408682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9062719" y="2572320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10.5.2021 00: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9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527538" y="1028708"/>
          <a:ext cx="9047285" cy="5272201"/>
        </p:xfrm>
        <a:graphic>
          <a:graphicData uri="http://schemas.openxmlformats.org/drawingml/2006/table">
            <a:tbl>
              <a:tblPr/>
              <a:tblGrid>
                <a:gridCol w="1977622">
                  <a:extLst>
                    <a:ext uri="{9D8B030D-6E8A-4147-A177-3AD203B41FA5}">
                      <a16:colId xmlns:a16="http://schemas.microsoft.com/office/drawing/2014/main" val="2512332756"/>
                    </a:ext>
                  </a:extLst>
                </a:gridCol>
                <a:gridCol w="1210791">
                  <a:extLst>
                    <a:ext uri="{9D8B030D-6E8A-4147-A177-3AD203B41FA5}">
                      <a16:colId xmlns:a16="http://schemas.microsoft.com/office/drawing/2014/main" val="1594583552"/>
                    </a:ext>
                  </a:extLst>
                </a:gridCol>
                <a:gridCol w="1119978">
                  <a:extLst>
                    <a:ext uri="{9D8B030D-6E8A-4147-A177-3AD203B41FA5}">
                      <a16:colId xmlns:a16="http://schemas.microsoft.com/office/drawing/2014/main" val="3020100888"/>
                    </a:ext>
                  </a:extLst>
                </a:gridCol>
                <a:gridCol w="1116617">
                  <a:extLst>
                    <a:ext uri="{9D8B030D-6E8A-4147-A177-3AD203B41FA5}">
                      <a16:colId xmlns:a16="http://schemas.microsoft.com/office/drawing/2014/main" val="34345265"/>
                    </a:ext>
                  </a:extLst>
                </a:gridCol>
                <a:gridCol w="1156976">
                  <a:extLst>
                    <a:ext uri="{9D8B030D-6E8A-4147-A177-3AD203B41FA5}">
                      <a16:colId xmlns:a16="http://schemas.microsoft.com/office/drawing/2014/main" val="3190399291"/>
                    </a:ext>
                  </a:extLst>
                </a:gridCol>
                <a:gridCol w="1160341">
                  <a:extLst>
                    <a:ext uri="{9D8B030D-6E8A-4147-A177-3AD203B41FA5}">
                      <a16:colId xmlns:a16="http://schemas.microsoft.com/office/drawing/2014/main" val="2714191950"/>
                    </a:ext>
                  </a:extLst>
                </a:gridCol>
                <a:gridCol w="1304960">
                  <a:extLst>
                    <a:ext uri="{9D8B030D-6E8A-4147-A177-3AD203B41FA5}">
                      <a16:colId xmlns:a16="http://schemas.microsoft.com/office/drawing/2014/main" val="3011513958"/>
                    </a:ext>
                  </a:extLst>
                </a:gridCol>
              </a:tblGrid>
              <a:tr h="208853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0.5. 2021, 12:30 h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4540355"/>
                  </a:ext>
                </a:extLst>
              </a:tr>
              <a:tr h="177476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356254"/>
                  </a:ext>
                </a:extLst>
              </a:tr>
              <a:tr h="2088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6371087"/>
                  </a:ext>
                </a:extLst>
              </a:tr>
              <a:tr h="60418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8411743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8999360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696822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39301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5426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736450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146635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591038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495790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52199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672053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090881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141982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1830613"/>
                  </a:ext>
                </a:extLst>
              </a:tr>
              <a:tr h="2013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8682796"/>
                  </a:ext>
                </a:extLst>
              </a:tr>
              <a:tr h="2163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0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4695693"/>
                  </a:ext>
                </a:extLst>
              </a:tr>
              <a:tr h="347493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9869116"/>
                  </a:ext>
                </a:extLst>
              </a:tr>
              <a:tr h="177476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304599"/>
                  </a:ext>
                </a:extLst>
              </a:tr>
              <a:tr h="17539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5364962"/>
                  </a:ext>
                </a:extLst>
              </a:tr>
              <a:tr h="186475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x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948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16034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8933743" y="2593981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10.5.2021 00: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10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/>
        </p:nvGraphicFramePr>
        <p:xfrm>
          <a:off x="597876" y="1072339"/>
          <a:ext cx="8220807" cy="5205012"/>
        </p:xfrm>
        <a:graphic>
          <a:graphicData uri="http://schemas.openxmlformats.org/drawingml/2006/table">
            <a:tbl>
              <a:tblPr/>
              <a:tblGrid>
                <a:gridCol w="1938357">
                  <a:extLst>
                    <a:ext uri="{9D8B030D-6E8A-4147-A177-3AD203B41FA5}">
                      <a16:colId xmlns:a16="http://schemas.microsoft.com/office/drawing/2014/main" val="2365753820"/>
                    </a:ext>
                  </a:extLst>
                </a:gridCol>
                <a:gridCol w="1092476">
                  <a:extLst>
                    <a:ext uri="{9D8B030D-6E8A-4147-A177-3AD203B41FA5}">
                      <a16:colId xmlns:a16="http://schemas.microsoft.com/office/drawing/2014/main" val="71753473"/>
                    </a:ext>
                  </a:extLst>
                </a:gridCol>
                <a:gridCol w="1083874">
                  <a:extLst>
                    <a:ext uri="{9D8B030D-6E8A-4147-A177-3AD203B41FA5}">
                      <a16:colId xmlns:a16="http://schemas.microsoft.com/office/drawing/2014/main" val="3519149066"/>
                    </a:ext>
                  </a:extLst>
                </a:gridCol>
                <a:gridCol w="1023658">
                  <a:extLst>
                    <a:ext uri="{9D8B030D-6E8A-4147-A177-3AD203B41FA5}">
                      <a16:colId xmlns:a16="http://schemas.microsoft.com/office/drawing/2014/main" val="2424127495"/>
                    </a:ext>
                  </a:extLst>
                </a:gridCol>
                <a:gridCol w="937636">
                  <a:extLst>
                    <a:ext uri="{9D8B030D-6E8A-4147-A177-3AD203B41FA5}">
                      <a16:colId xmlns:a16="http://schemas.microsoft.com/office/drawing/2014/main" val="637632422"/>
                    </a:ext>
                  </a:extLst>
                </a:gridCol>
                <a:gridCol w="997851">
                  <a:extLst>
                    <a:ext uri="{9D8B030D-6E8A-4147-A177-3AD203B41FA5}">
                      <a16:colId xmlns:a16="http://schemas.microsoft.com/office/drawing/2014/main" val="2038501785"/>
                    </a:ext>
                  </a:extLst>
                </a:gridCol>
                <a:gridCol w="1146955">
                  <a:extLst>
                    <a:ext uri="{9D8B030D-6E8A-4147-A177-3AD203B41FA5}">
                      <a16:colId xmlns:a16="http://schemas.microsoft.com/office/drawing/2014/main" val="4278763251"/>
                    </a:ext>
                  </a:extLst>
                </a:gridCol>
              </a:tblGrid>
              <a:tr h="0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0.5. 2021, 12:30 h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8984371"/>
                  </a:ext>
                </a:extLst>
              </a:tr>
              <a:tr h="129864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7061"/>
                  </a:ext>
                </a:extLst>
              </a:tr>
              <a:tr h="21401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290677"/>
                  </a:ext>
                </a:extLst>
              </a:tr>
              <a:tr h="61910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870533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67445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118100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906981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7115046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3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398094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02028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558711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396946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7401820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909601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373308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713200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227787"/>
                  </a:ext>
                </a:extLst>
              </a:tr>
              <a:tr h="2063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9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986887"/>
                  </a:ext>
                </a:extLst>
              </a:tr>
              <a:tr h="2216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665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5302579"/>
                  </a:ext>
                </a:extLst>
              </a:tr>
              <a:tr h="259872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52848"/>
                  </a:ext>
                </a:extLst>
              </a:tr>
              <a:tr h="178853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052143"/>
                  </a:ext>
                </a:extLst>
              </a:tr>
              <a:tr h="20637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802487"/>
                  </a:ext>
                </a:extLst>
              </a:tr>
              <a:tr h="191083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x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181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9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květ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19" y="1457767"/>
            <a:ext cx="10847093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27. 4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elmi významného zpomalení epidemie; předpokládané udržitel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5)</a:t>
            </a:r>
          </a:p>
          <a:p>
            <a:pPr lvl="1"/>
            <a:r>
              <a:rPr lang="cs-CZ" sz="1600" dirty="0"/>
              <a:t>výrazný dopad opatření účinných od 1. 3. 2021, předpokládané další zlepšení díky vlivu sezónnosti, rozvoji dalších mechanismů (např. testování a trasování), postupující vakcinace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pokračujícího zpomalení epidemie; předpokládané R = 0,85)</a:t>
            </a:r>
          </a:p>
          <a:p>
            <a:pPr lvl="1"/>
            <a:r>
              <a:rPr lang="cs-CZ" sz="1600" dirty="0"/>
              <a:t>výrazný dopad opatření účinných od 1. 3. 2021, odpovídá aktuálním hodnotám reprodukčního čísla a aktuálním trendům ve zpomalení epidemie 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stagnace epidemie, předpokládané R = 0,95)</a:t>
            </a:r>
          </a:p>
          <a:p>
            <a:pPr lvl="1"/>
            <a:r>
              <a:rPr lang="cs-CZ" sz="1600" dirty="0"/>
              <a:t>scénář pro zpomalení poklesu vlivem částečného dopadu probíhajících rozvolnění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rizikový scénář, předpokládané R = 1,10)</a:t>
            </a:r>
          </a:p>
          <a:p>
            <a:pPr lvl="1"/>
            <a:r>
              <a:rPr lang="cs-CZ" sz="1600" dirty="0"/>
              <a:t>opětovné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SIR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. do 26. 4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83 (0,77–0,88), interval odpovídá 95% intervalu neurčitosti z odhadů získaných kalibrací modelu, kalibračním cílem byly denní přírůstky s vyjmutím volných dn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19. 4. 2021.</a:t>
            </a:r>
          </a:p>
        </p:txBody>
      </p:sp>
    </p:spTree>
    <p:extLst>
      <p:ext uri="{BB962C8B-B14F-4D97-AF65-F5344CB8AC3E}">
        <p14:creationId xmlns:p14="http://schemas.microsoft.com/office/powerpoint/2010/main" val="2998920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97626" y="165100"/>
            <a:ext cx="9379857" cy="908050"/>
          </a:xfrm>
        </p:spPr>
        <p:txBody>
          <a:bodyPr>
            <a:noAutofit/>
          </a:bodyPr>
          <a:lstStyle/>
          <a:p>
            <a:r>
              <a:rPr lang="cs-CZ" sz="2400" dirty="0"/>
              <a:t>NDLP – vývoj obsazenosti C+ lůžek v ČR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/>
        </p:nvGraphicFramePr>
        <p:xfrm>
          <a:off x="1632934" y="1073150"/>
          <a:ext cx="7660536" cy="5134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999168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/>
              <a:t>Původní scénáře </a:t>
            </a:r>
            <a:r>
              <a:rPr lang="cs-CZ" sz="3000" i="1" dirty="0" smtClean="0"/>
              <a:t>z 5.3</a:t>
            </a:r>
            <a:r>
              <a:rPr lang="cs-CZ" sz="3000" i="1" dirty="0"/>
              <a:t>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byla kalkulována silná změna v populačních trendech již od prvního týdne v březnu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následným pozitivním dopadem na zátěž nemocnic od cca 14.3. 2021. </a:t>
            </a:r>
            <a:r>
              <a:rPr lang="cs-CZ" dirty="0">
                <a:solidFill>
                  <a:prstClr val="black"/>
                </a:solidFill>
                <a:latin typeface="Calibri" panose="020F0502020204030204"/>
              </a:rPr>
              <a:t>Kapitola hodnotí nové modely, ve kterých je již uvažován vliv vakcin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rychlý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8.3. 2021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730220" y="2505549"/>
            <a:ext cx="10418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byl zabudován předpoklad relativně rychlé změny v populačních trendech již od počátku března, s pozitivním dopadem na zátěž nemocnic od cca 14.3. 2021. Zátěž nemocnic kulminovala až do poloviny března. 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119202" y="393176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6" y="4613384"/>
            <a:ext cx="112215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kern="0" dirty="0">
                <a:solidFill>
                  <a:srgbClr val="C00000"/>
                </a:solidFill>
                <a:latin typeface="Calibri" panose="020F0502020204030204"/>
              </a:rPr>
              <a:t>Tyto scénáře se dle předpokladů naplnily a epidemie začala na populační úrovni významně zpomalovat již v 1. polovině března. Pozitivní dopad na zátěž nemocnic avšak nastal až po 15. březnu. 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</a:t>
            </a:r>
            <a:r>
              <a:rPr lang="cs-CZ" sz="2400" b="1" kern="0" dirty="0">
                <a:solidFill>
                  <a:srgbClr val="C00000"/>
                </a:solidFill>
                <a:latin typeface="Calibri" panose="020F0502020204030204"/>
              </a:rPr>
              <a:t>z konce února 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sou nadále funkční a predikce rychlého poklesu zátěže se shodují</a:t>
            </a:r>
            <a:r>
              <a:rPr kumimoji="0" lang="cs-CZ" sz="2400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realitou. Modely byly nově doplněn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předpokládaný efekt vakcinace </a:t>
            </a:r>
            <a:r>
              <a:rPr kumimoji="0" lang="cs-CZ" sz="2400" b="1" i="0" u="none" strike="noStrike" kern="0" cap="none" spc="0" normalizeH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400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3" name="Přímá spojnice 2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472131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4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5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7" name="Přímá spojnice 16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3959638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nových hospitalizačních</a:t>
            </a:r>
            <a:r>
              <a:rPr lang="cs-CZ" dirty="0">
                <a:latin typeface="+mj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3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7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9" name="Přímá spojnice 18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6501940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zemřelých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4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5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9" name="Přímá spojnice 18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943355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069226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00673" y="1458954"/>
            <a:ext cx="34626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énář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e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375026" y="821942"/>
            <a:ext cx="4061875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375026" y="2130847"/>
            <a:ext cx="4061875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znamného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3736851" y="1088373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3736851" y="1727288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89808" y="286780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375026" y="3147771"/>
            <a:ext cx="3135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77657" y="350707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56838" y="3455548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072790" y="3316032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367535" y="33862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072790" y="3539339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4375392" y="361143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4072790" y="376264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072790" y="39859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969686" y="298598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37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13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5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5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367535" y="3836656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8236228" y="370511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300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35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709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107 predikovaných</a:t>
            </a:r>
          </a:p>
        </p:txBody>
      </p:sp>
    </p:spTree>
    <p:extLst>
      <p:ext uri="{BB962C8B-B14F-4D97-AF65-F5344CB8AC3E}">
        <p14:creationId xmlns:p14="http://schemas.microsoft.com/office/powerpoint/2010/main" val="1382917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200165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27. 4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k uzavřenému dni 16. 5. 2021.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306097"/>
              </p:ext>
            </p:extLst>
          </p:nvPr>
        </p:nvGraphicFramePr>
        <p:xfrm>
          <a:off x="89775" y="1696577"/>
          <a:ext cx="12024000" cy="445721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9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cs-CZ" sz="1450" b="1" u="none" strike="noStrike" dirty="0">
                          <a:effectLst/>
                        </a:rPr>
                        <a:t>.–9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1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7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9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72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65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0.–16. 5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80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5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14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cs-CZ" sz="1450" b="1" u="none" strike="noStrike" dirty="0">
                          <a:effectLst/>
                        </a:rPr>
                        <a:t>.–23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7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49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4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70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</a:t>
                      </a:r>
                      <a:r>
                        <a:rPr lang="cs-CZ" sz="1450" b="1" u="none" strike="noStrike" dirty="0">
                          <a:effectLst/>
                        </a:rPr>
                        <a:t>–30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4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30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 33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 5</a:t>
                      </a:r>
                      <a:r>
                        <a:rPr lang="cs-CZ" sz="1450" b="1" u="none" strike="noStrike" dirty="0">
                          <a:effectLst/>
                        </a:rPr>
                        <a:t>–6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03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8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04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228000" y="6279426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1107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79875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4169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182507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2191937" y="79741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897192" y="952453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146762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146762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107934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767133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F36C33E5-42C6-40FB-A409-575121A7E2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37435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4.–18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4.–25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4.–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5.–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7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.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3930959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pro rychlé brždění epidemie provedená dne 5.3. 2021</a:t>
            </a:r>
          </a:p>
          <a:p>
            <a:pPr algn="ctr">
              <a:defRPr/>
            </a:pPr>
            <a:r>
              <a:rPr lang="cs-CZ" sz="3200" i="1" dirty="0"/>
              <a:t>Model předpokládal snížení mobility obyvatel a posílení dodržování opatření již od konce února 2021.</a:t>
            </a:r>
            <a:endParaRPr lang="cs-CZ" sz="3200" i="1" kern="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latin typeface="Calibri" panose="020F0502020204030204"/>
            </a:endParaRPr>
          </a:p>
          <a:p>
            <a:pPr algn="ctr">
              <a:defRPr/>
            </a:pPr>
            <a:r>
              <a:rPr lang="cs-CZ" sz="3400" b="1" i="1" dirty="0">
                <a:solidFill>
                  <a:srgbClr val="C00000"/>
                </a:solidFill>
              </a:rPr>
              <a:t>Aktuální vývoj ukazuje na rychlejší zpomalování epidemie. </a:t>
            </a:r>
          </a:p>
          <a:p>
            <a:pPr algn="ctr">
              <a:defRPr/>
            </a:pPr>
            <a:r>
              <a:rPr lang="cs-CZ" sz="3400" b="1" i="1" dirty="0">
                <a:solidFill>
                  <a:srgbClr val="C00000"/>
                </a:solidFill>
              </a:rPr>
              <a:t>V tomto trendu se již s vysokou pravděpodobností promítá postupující očkování populace. </a:t>
            </a:r>
            <a:endParaRPr kumimoji="0" lang="cs-CZ" sz="340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20413" y="4075284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420413" y="6201066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86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07714AAD-5A5A-4DFB-B9F2-78162B0851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396" y="153055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9961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46</TotalTime>
  <Words>5174</Words>
  <Application>Microsoft Office PowerPoint</Application>
  <PresentationFormat>Širokoúhlá obrazovka</PresentationFormat>
  <Paragraphs>963</Paragraphs>
  <Slides>36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36</vt:i4>
      </vt:variant>
    </vt:vector>
  </HeadingPairs>
  <TitlesOfParts>
    <vt:vector size="47" baseType="lpstr">
      <vt:lpstr>Arial</vt:lpstr>
      <vt:lpstr>Calibri</vt:lpstr>
      <vt:lpstr>Calibri Light</vt:lpstr>
      <vt:lpstr>Segoe UI</vt:lpstr>
      <vt:lpstr>Wingdings</vt:lpstr>
      <vt:lpstr>Motiv Office</vt:lpstr>
      <vt:lpstr>1_Motiv systému Office</vt:lpstr>
      <vt:lpstr>1_Motiv Office</vt:lpstr>
      <vt:lpstr>2_Motiv Office</vt:lpstr>
      <vt:lpstr>8_Motiv Office</vt:lpstr>
      <vt:lpstr>3_Motiv Office</vt:lpstr>
      <vt:lpstr>Datová a informační základna  pro management pandemie COVID-19</vt:lpstr>
      <vt:lpstr>Datová a informační základna  pro management pandemie COVID-19</vt:lpstr>
      <vt:lpstr>Navržené scénáře pro  vývoj epidemie v květnu</vt:lpstr>
      <vt:lpstr>Predikce ve čty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cénáře pro dlouhodobé simulace</vt:lpstr>
      <vt:lpstr>Scénáře dlouhodobých simulací z 5. 3. 2021</vt:lpstr>
      <vt:lpstr>Scénáře pro dlouhodobé simulace</vt:lpstr>
      <vt:lpstr>Scénáře dlouhodobých simulací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NDLP – vývoj obsazenosti C+ lůžek v ČR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1961</cp:revision>
  <dcterms:created xsi:type="dcterms:W3CDTF">2020-03-16T10:06:11Z</dcterms:created>
  <dcterms:modified xsi:type="dcterms:W3CDTF">2021-05-18T21:07:13Z</dcterms:modified>
</cp:coreProperties>
</file>